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6" r:id="rId5"/>
  </p:sldMasterIdLst>
  <p:notesMasterIdLst>
    <p:notesMasterId r:id="rId20"/>
  </p:notesMasterIdLst>
  <p:handoutMasterIdLst>
    <p:handoutMasterId r:id="rId21"/>
  </p:handoutMasterIdLst>
  <p:sldIdLst>
    <p:sldId id="284" r:id="rId6"/>
    <p:sldId id="274" r:id="rId7"/>
    <p:sldId id="266" r:id="rId8"/>
    <p:sldId id="277" r:id="rId9"/>
    <p:sldId id="267" r:id="rId10"/>
    <p:sldId id="272" r:id="rId11"/>
    <p:sldId id="273" r:id="rId12"/>
    <p:sldId id="282" r:id="rId13"/>
    <p:sldId id="285" r:id="rId14"/>
    <p:sldId id="270" r:id="rId15"/>
    <p:sldId id="279" r:id="rId16"/>
    <p:sldId id="278" r:id="rId17"/>
    <p:sldId id="281" r:id="rId18"/>
    <p:sldId id="256"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F0F2"/>
    <a:srgbClr val="E2E0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E368BC-7100-4049-AD17-CE2DA56B3034}" v="528" dt="2023-10-02T09:36:03.883"/>
    <p1510:client id="{8994F3C8-8250-4AAE-917D-5B978D5D87A1}" v="982" dt="2023-10-02T20:32:39.829"/>
    <p1510:client id="{A9EF2398-F7D7-F39B-A40C-E5CA23D05FB2}" v="78" dt="2023-10-02T09:11:53.0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846" autoAdjust="0"/>
  </p:normalViewPr>
  <p:slideViewPr>
    <p:cSldViewPr snapToGrid="0">
      <p:cViewPr varScale="1">
        <p:scale>
          <a:sx n="63" d="100"/>
          <a:sy n="63" d="100"/>
        </p:scale>
        <p:origin x="27" y="569"/>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5FA5D2F7-4660-1CD5-A504-5EAD459291D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116358A1-6DEC-3614-480B-AF39ED4A7F5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7369276-EBC1-460C-9E83-A25E44857B60}" type="datetimeFigureOut">
              <a:rPr lang="nl-NL" smtClean="0"/>
              <a:t>5-10-2023</a:t>
            </a:fld>
            <a:endParaRPr lang="nl-NL"/>
          </a:p>
        </p:txBody>
      </p:sp>
      <p:sp>
        <p:nvSpPr>
          <p:cNvPr id="4" name="Tijdelijke aanduiding voor voettekst 3">
            <a:extLst>
              <a:ext uri="{FF2B5EF4-FFF2-40B4-BE49-F238E27FC236}">
                <a16:creationId xmlns:a16="http://schemas.microsoft.com/office/drawing/2014/main" id="{3F8D26B9-D542-3075-04A1-7380CFFFA3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687BDC18-D693-7C1D-EFB0-A076C61D4F6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80B1C3-83A7-48D3-9776-20463EECEB06}" type="slidenum">
              <a:rPr lang="nl-NL" smtClean="0"/>
              <a:t>‹nr.›</a:t>
            </a:fld>
            <a:endParaRPr lang="nl-NL"/>
          </a:p>
        </p:txBody>
      </p:sp>
    </p:spTree>
    <p:extLst>
      <p:ext uri="{BB962C8B-B14F-4D97-AF65-F5344CB8AC3E}">
        <p14:creationId xmlns:p14="http://schemas.microsoft.com/office/powerpoint/2010/main" val="3011030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DA924B-AE91-438B-8E8C-850EC312A2F8}" type="datetimeFigureOut">
              <a:t>5-10-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E2997D-9EEB-49E9-9418-36A9DCB35C4E}" type="slidenum">
              <a:t>‹nr.›</a:t>
            </a:fld>
            <a:endParaRPr lang="nl-NL"/>
          </a:p>
        </p:txBody>
      </p:sp>
    </p:spTree>
    <p:extLst>
      <p:ext uri="{BB962C8B-B14F-4D97-AF65-F5344CB8AC3E}">
        <p14:creationId xmlns:p14="http://schemas.microsoft.com/office/powerpoint/2010/main" val="2570141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mercateo.nl/p/88BUR-142414/verbandkoffer_DIN_13157_ABS_oranje_m_wandhouder.html?ViewName=live_nl~s.100!secureMod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en-US" b="0" dirty="0" err="1">
                <a:cs typeface="Calibri"/>
              </a:rPr>
              <a:t>Welke</a:t>
            </a:r>
            <a:r>
              <a:rPr lang="en-US" b="0" dirty="0">
                <a:cs typeface="Calibri"/>
              </a:rPr>
              <a:t> </a:t>
            </a:r>
            <a:r>
              <a:rPr lang="en-US" b="0" dirty="0" err="1">
                <a:cs typeface="Calibri"/>
              </a:rPr>
              <a:t>rol</a:t>
            </a:r>
            <a:r>
              <a:rPr lang="en-US" b="0" dirty="0">
                <a:cs typeface="Calibri"/>
              </a:rPr>
              <a:t>?</a:t>
            </a:r>
          </a:p>
          <a:p>
            <a:pPr marL="171450" indent="-171450">
              <a:buFont typeface="Arial" panose="020B0604020202020204" pitchFamily="34" charset="0"/>
              <a:buChar char="•"/>
            </a:pPr>
            <a:r>
              <a:rPr lang="en-US" b="0" dirty="0" err="1">
                <a:cs typeface="Calibri"/>
              </a:rPr>
              <a:t>Uitdagingen</a:t>
            </a:r>
            <a:r>
              <a:rPr lang="en-US" b="0" dirty="0">
                <a:cs typeface="Calibri"/>
              </a:rPr>
              <a:t>?</a:t>
            </a:r>
          </a:p>
          <a:p>
            <a:pPr marL="171450" indent="-171450">
              <a:buFont typeface="Arial" panose="020B0604020202020204" pitchFamily="34" charset="0"/>
              <a:buChar char="•"/>
            </a:pPr>
            <a:r>
              <a:rPr lang="en-US" b="0" dirty="0">
                <a:cs typeface="Calibri"/>
              </a:rPr>
              <a:t>Maverick Buying?</a:t>
            </a:r>
          </a:p>
          <a:p>
            <a:pPr marL="628650" lvl="1" indent="-171450">
              <a:buFont typeface="Arial" panose="020B0604020202020204" pitchFamily="34" charset="0"/>
              <a:buChar char="•"/>
            </a:pPr>
            <a:r>
              <a:rPr lang="en-US" b="0" dirty="0" err="1">
                <a:cs typeface="Calibri"/>
              </a:rPr>
              <a:t>Herkenbaar</a:t>
            </a:r>
            <a:r>
              <a:rPr lang="en-US" b="0" dirty="0">
                <a:cs typeface="Calibri"/>
              </a:rPr>
              <a:t> </a:t>
            </a:r>
            <a:r>
              <a:rPr lang="en-US" b="0" dirty="0" err="1">
                <a:cs typeface="Calibri"/>
              </a:rPr>
              <a:t>binnen</a:t>
            </a:r>
            <a:r>
              <a:rPr lang="en-US" b="0" dirty="0">
                <a:cs typeface="Calibri"/>
              </a:rPr>
              <a:t> </a:t>
            </a:r>
            <a:r>
              <a:rPr lang="en-US" b="0" dirty="0" err="1">
                <a:cs typeface="Calibri"/>
              </a:rPr>
              <a:t>organisatie</a:t>
            </a:r>
            <a:r>
              <a:rPr lang="en-US" b="0" dirty="0">
                <a:cs typeface="Calibri"/>
              </a:rPr>
              <a:t>?</a:t>
            </a:r>
          </a:p>
          <a:p>
            <a:pPr marL="628650" lvl="1" indent="-171450">
              <a:buFont typeface="Arial" panose="020B0604020202020204" pitchFamily="34" charset="0"/>
              <a:buChar char="•"/>
            </a:pPr>
            <a:r>
              <a:rPr lang="en-US" b="0" dirty="0" err="1">
                <a:cs typeface="Calibri"/>
              </a:rPr>
              <a:t>Laagdrempelige</a:t>
            </a:r>
            <a:r>
              <a:rPr lang="en-US" b="0" dirty="0">
                <a:cs typeface="Calibri"/>
              </a:rPr>
              <a:t> </a:t>
            </a:r>
            <a:r>
              <a:rPr lang="en-US" b="0" dirty="0" err="1">
                <a:cs typeface="Calibri"/>
              </a:rPr>
              <a:t>oplossing</a:t>
            </a:r>
            <a:r>
              <a:rPr lang="en-US" b="0" dirty="0">
                <a:cs typeface="Calibri"/>
              </a:rPr>
              <a:t>?</a:t>
            </a:r>
          </a:p>
          <a:p>
            <a:pPr marL="171450" lvl="0" indent="-171450">
              <a:buFont typeface="Arial" panose="020B0604020202020204" pitchFamily="34" charset="0"/>
              <a:buChar char="•"/>
            </a:pPr>
            <a:endParaRPr lang="en-US" b="0" dirty="0">
              <a:cs typeface="Calibri"/>
            </a:endParaRPr>
          </a:p>
          <a:p>
            <a:pPr marL="0" lvl="0" indent="0">
              <a:buFont typeface="Arial" panose="020B0604020202020204" pitchFamily="34" charset="0"/>
              <a:buNone/>
            </a:pPr>
            <a:r>
              <a:rPr lang="en-US" b="0" dirty="0" err="1">
                <a:cs typeface="Calibri"/>
              </a:rPr>
              <a:t>Juiste</a:t>
            </a:r>
            <a:r>
              <a:rPr lang="en-US" b="0" dirty="0">
                <a:cs typeface="Calibri"/>
              </a:rPr>
              <a:t> </a:t>
            </a:r>
            <a:r>
              <a:rPr lang="en-US" b="0" dirty="0" err="1">
                <a:cs typeface="Calibri"/>
              </a:rPr>
              <a:t>plek</a:t>
            </a:r>
            <a:r>
              <a:rPr lang="en-US" b="0" dirty="0">
                <a:cs typeface="Calibri"/>
              </a:rPr>
              <a:t> </a:t>
            </a:r>
            <a:r>
              <a:rPr lang="en-US" b="0" dirty="0" err="1">
                <a:cs typeface="Calibri"/>
              </a:rPr>
              <a:t>vandaag</a:t>
            </a:r>
            <a:r>
              <a:rPr lang="en-US" b="0" dirty="0">
                <a:cs typeface="Calibri"/>
              </a:rPr>
              <a:t>… TITEL</a:t>
            </a:r>
          </a:p>
        </p:txBody>
      </p:sp>
      <p:sp>
        <p:nvSpPr>
          <p:cNvPr id="4" name="Tijdelijke aanduiding voor dianummer 3"/>
          <p:cNvSpPr>
            <a:spLocks noGrp="1"/>
          </p:cNvSpPr>
          <p:nvPr>
            <p:ph type="sldNum" sz="quarter" idx="5"/>
          </p:nvPr>
        </p:nvSpPr>
        <p:spPr/>
        <p:txBody>
          <a:bodyPr/>
          <a:lstStyle/>
          <a:p>
            <a:fld id="{0CE2997D-9EEB-49E9-9418-36A9DCB35C4E}" type="slidenum">
              <a:t>1</a:t>
            </a:fld>
            <a:endParaRPr lang="nl-NL"/>
          </a:p>
        </p:txBody>
      </p:sp>
    </p:spTree>
    <p:extLst>
      <p:ext uri="{BB962C8B-B14F-4D97-AF65-F5344CB8AC3E}">
        <p14:creationId xmlns:p14="http://schemas.microsoft.com/office/powerpoint/2010/main" val="3748120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l-NL" sz="1800" dirty="0">
                <a:effectLst/>
                <a:latin typeface="Calibri" panose="020F0502020204030204" pitchFamily="34" charset="0"/>
                <a:ea typeface="Calibri" panose="020F0502020204030204" pitchFamily="34" charset="0"/>
                <a:cs typeface="Arial" panose="020B0604020202020204" pitchFamily="34" charset="0"/>
              </a:rPr>
              <a:t>Gebruikerstevredenheid</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Intuitief, B2C-like </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l-NL" sz="1800" dirty="0">
                <a:effectLst/>
                <a:latin typeface="Calibri" panose="020F0502020204030204" pitchFamily="34" charset="0"/>
                <a:ea typeface="Calibri" panose="020F0502020204030204" pitchFamily="34" charset="0"/>
                <a:cs typeface="Arial" panose="020B0604020202020204" pitchFamily="34" charset="0"/>
              </a:rPr>
              <a:t>Data</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One-stop-shop</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Autonomie (vooraf controle)</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l-NL" sz="1800" dirty="0">
                <a:effectLst/>
                <a:latin typeface="Calibri" panose="020F0502020204030204" pitchFamily="34" charset="0"/>
                <a:ea typeface="Calibri" panose="020F0502020204030204" pitchFamily="34" charset="0"/>
                <a:cs typeface="Arial" panose="020B0604020202020204" pitchFamily="34" charset="0"/>
              </a:rPr>
              <a:t>Compliance</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Guided Buying</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Vettted supply</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Certificaten (Ecovadis, Fairtax)</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l-NL" sz="1800" dirty="0">
                <a:effectLst/>
                <a:latin typeface="Calibri" panose="020F0502020204030204" pitchFamily="34" charset="0"/>
                <a:ea typeface="Calibri" panose="020F0502020204030204" pitchFamily="34" charset="0"/>
                <a:cs typeface="Arial" panose="020B0604020202020204" pitchFamily="34" charset="0"/>
              </a:rPr>
              <a:t>Kostenbesparing</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Proceskosten/TCO -&gt; 42% met digitalisatie / 70% met Mercateo</a:t>
            </a: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Direct op producten (volume)</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10</a:t>
            </a:fld>
            <a:endParaRPr lang="en-NL"/>
          </a:p>
        </p:txBody>
      </p:sp>
    </p:spTree>
    <p:extLst>
      <p:ext uri="{BB962C8B-B14F-4D97-AF65-F5344CB8AC3E}">
        <p14:creationId xmlns:p14="http://schemas.microsoft.com/office/powerpoint/2010/main" val="2835815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Marktplaats voor tailspend -&gt; bewezen concept</a:t>
            </a:r>
          </a:p>
          <a:p>
            <a:endParaRPr lang="nl-NL" dirty="0"/>
          </a:p>
          <a:p>
            <a:r>
              <a:rPr lang="nl-NL" dirty="0"/>
              <a:t>Mercateo / Unite ondersteunt jullie graag bij het starten van een tailspend strategie en de uitvoering daarvan</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11</a:t>
            </a:fld>
            <a:endParaRPr lang="en-NL"/>
          </a:p>
        </p:txBody>
      </p:sp>
    </p:spTree>
    <p:extLst>
      <p:ext uri="{BB962C8B-B14F-4D97-AF65-F5344CB8AC3E}">
        <p14:creationId xmlns:p14="http://schemas.microsoft.com/office/powerpoint/2010/main" val="11363459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Categoriseren &amp; spendanalyse</a:t>
            </a:r>
          </a:p>
          <a:p>
            <a:pPr marL="171450" indent="-171450">
              <a:buFont typeface="Arial" panose="020B0604020202020204" pitchFamily="34" charset="0"/>
              <a:buChar char="•"/>
            </a:pPr>
            <a:r>
              <a:rPr lang="nl-NL" dirty="0"/>
              <a:t>Definieer / meer data / classificeren</a:t>
            </a:r>
          </a:p>
          <a:p>
            <a:pPr marL="171450" indent="-171450">
              <a:buFont typeface="Arial" panose="020B0604020202020204" pitchFamily="34" charset="0"/>
              <a:buChar char="•"/>
            </a:pPr>
            <a:endParaRPr lang="nl-NL" dirty="0"/>
          </a:p>
          <a:p>
            <a:pPr marL="0" indent="0">
              <a:buFont typeface="Arial" panose="020B0604020202020204" pitchFamily="34" charset="0"/>
              <a:buNone/>
            </a:pPr>
            <a:r>
              <a:rPr lang="nl-NL" dirty="0"/>
              <a:t>Risicobeheer</a:t>
            </a:r>
          </a:p>
          <a:p>
            <a:pPr marL="171450" indent="-171450">
              <a:buFont typeface="Arial" panose="020B0604020202020204" pitchFamily="34" charset="0"/>
              <a:buChar char="•"/>
            </a:pPr>
            <a:r>
              <a:rPr lang="nl-NL" dirty="0"/>
              <a:t>Duurzaamheid / verstoring SC / Reputatieschade</a:t>
            </a:r>
          </a:p>
          <a:p>
            <a:pPr marL="171450" indent="-171450">
              <a:buFont typeface="Arial" panose="020B0604020202020204" pitchFamily="34" charset="0"/>
              <a:buChar char="•"/>
            </a:pPr>
            <a:endParaRPr lang="nl-NL" dirty="0"/>
          </a:p>
          <a:p>
            <a:pPr marL="0" indent="0">
              <a:buFont typeface="Arial" panose="020B0604020202020204" pitchFamily="34" charset="0"/>
              <a:buNone/>
            </a:pPr>
            <a:r>
              <a:rPr lang="nl-NL" dirty="0"/>
              <a:t>KPI</a:t>
            </a:r>
          </a:p>
          <a:p>
            <a:pPr marL="171450" indent="-171450">
              <a:buFont typeface="Arial" panose="020B0604020202020204" pitchFamily="34" charset="0"/>
              <a:buChar char="•"/>
            </a:pPr>
            <a:r>
              <a:rPr lang="nl-NL" dirty="0"/>
              <a:t>Meten is weten / SMART</a:t>
            </a:r>
          </a:p>
          <a:p>
            <a:pPr marL="171450" indent="-171450">
              <a:buFont typeface="Arial" panose="020B0604020202020204" pitchFamily="34" charset="0"/>
              <a:buChar char="•"/>
            </a:pPr>
            <a:endParaRPr lang="nl-NL" dirty="0"/>
          </a:p>
          <a:p>
            <a:pPr marL="0" indent="0">
              <a:buFont typeface="Arial" panose="020B0604020202020204" pitchFamily="34" charset="0"/>
              <a:buNone/>
            </a:pPr>
            <a:r>
              <a:rPr lang="nl-NL" dirty="0"/>
              <a:t>Systemen &amp; processen</a:t>
            </a:r>
          </a:p>
          <a:p>
            <a:pPr marL="171450" indent="-171450">
              <a:buFont typeface="Arial" panose="020B0604020202020204" pitchFamily="34" charset="0"/>
              <a:buChar char="•"/>
            </a:pPr>
            <a:r>
              <a:rPr lang="nl-NL" dirty="0"/>
              <a:t>Digitalisatiegraad / gebruiksvriendelijk / kwaliteit</a:t>
            </a:r>
          </a:p>
          <a:p>
            <a:pPr marL="171450" indent="-171450">
              <a:buFont typeface="Arial" panose="020B0604020202020204" pitchFamily="34" charset="0"/>
              <a:buChar char="•"/>
            </a:pPr>
            <a:endParaRPr lang="nl-NL" dirty="0"/>
          </a:p>
          <a:p>
            <a:pPr marL="0" indent="0">
              <a:buFont typeface="Arial" panose="020B0604020202020204" pitchFamily="34" charset="0"/>
              <a:buNone/>
            </a:pPr>
            <a:r>
              <a:rPr lang="nl-NL" dirty="0"/>
              <a:t>Stakeholders</a:t>
            </a:r>
          </a:p>
          <a:p>
            <a:pPr marL="171450" indent="-171450">
              <a:buFont typeface="Arial" panose="020B0604020202020204" pitchFamily="34" charset="0"/>
              <a:buChar char="•"/>
            </a:pPr>
            <a:r>
              <a:rPr lang="nl-NL" dirty="0"/>
              <a:t>Draagvlak / adoptie / vrijheid / begeleiding\</a:t>
            </a:r>
          </a:p>
          <a:p>
            <a:pPr marL="171450" indent="-171450">
              <a:buFont typeface="Arial" panose="020B0604020202020204" pitchFamily="34" charset="0"/>
              <a:buChar char="•"/>
            </a:pPr>
            <a:endParaRPr lang="nl-NL" dirty="0"/>
          </a:p>
          <a:p>
            <a:pPr marL="0" indent="0">
              <a:buFont typeface="Arial" panose="020B0604020202020204" pitchFamily="34" charset="0"/>
              <a:buNone/>
            </a:pPr>
            <a:r>
              <a:rPr lang="nl-NL" dirty="0"/>
              <a:t>Monitoring</a:t>
            </a:r>
          </a:p>
          <a:p>
            <a:pPr marL="0" indent="0">
              <a:buFont typeface="Arial" panose="020B0604020202020204" pitchFamily="34" charset="0"/>
              <a:buNone/>
            </a:pPr>
            <a:r>
              <a:rPr lang="nl-NL" dirty="0"/>
              <a:t>* Opvolgen / ondersteunen / bijsturen</a:t>
            </a:r>
          </a:p>
        </p:txBody>
      </p:sp>
      <p:sp>
        <p:nvSpPr>
          <p:cNvPr id="4" name="Slide Number Placeholder 3"/>
          <p:cNvSpPr>
            <a:spLocks noGrp="1"/>
          </p:cNvSpPr>
          <p:nvPr>
            <p:ph type="sldNum" sz="quarter" idx="5"/>
          </p:nvPr>
        </p:nvSpPr>
        <p:spPr/>
        <p:txBody>
          <a:bodyPr/>
          <a:lstStyle/>
          <a:p>
            <a:fld id="{0CE2997D-9EEB-49E9-9418-36A9DCB35C4E}" type="slidenum">
              <a:rPr lang="en-NL" smtClean="0"/>
              <a:t>12</a:t>
            </a:fld>
            <a:endParaRPr lang="en-NL"/>
          </a:p>
        </p:txBody>
      </p:sp>
    </p:spTree>
    <p:extLst>
      <p:ext uri="{BB962C8B-B14F-4D97-AF65-F5344CB8AC3E}">
        <p14:creationId xmlns:p14="http://schemas.microsoft.com/office/powerpoint/2010/main" val="2168797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Starten: laagdrempelig / data verzamelen</a:t>
            </a:r>
          </a:p>
          <a:p>
            <a:endParaRPr lang="nl-NL" dirty="0"/>
          </a:p>
          <a:p>
            <a:r>
              <a:rPr lang="nl-NL" dirty="0"/>
              <a:t>Adoptie: fantastische systemen -&gt; gebruik/acceptatie cruciaal</a:t>
            </a:r>
          </a:p>
          <a:p>
            <a:endParaRPr lang="nl-NL" dirty="0"/>
          </a:p>
          <a:p>
            <a:r>
              <a:rPr lang="nl-NL" dirty="0"/>
              <a:t>Monitoren: Bijsturen, aanscherpen, trainingen</a:t>
            </a:r>
          </a:p>
          <a:p>
            <a:endParaRPr lang="nl-NL" dirty="0"/>
          </a:p>
          <a:p>
            <a:r>
              <a:rPr lang="nl-NL" dirty="0"/>
              <a:t>En bovenal zou ik jullie willen zeggen...... NEXT SLIDE</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13</a:t>
            </a:fld>
            <a:endParaRPr lang="en-NL"/>
          </a:p>
        </p:txBody>
      </p:sp>
    </p:spTree>
    <p:extLst>
      <p:ext uri="{BB962C8B-B14F-4D97-AF65-F5344CB8AC3E}">
        <p14:creationId xmlns:p14="http://schemas.microsoft.com/office/powerpoint/2010/main" val="34859775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cs typeface="Calibri"/>
              </a:rPr>
              <a:t>Als er </a:t>
            </a:r>
            <a:r>
              <a:rPr lang="en-US" dirty="0" err="1">
                <a:cs typeface="Calibri"/>
              </a:rPr>
              <a:t>vragen</a:t>
            </a:r>
            <a:r>
              <a:rPr lang="en-US" dirty="0">
                <a:cs typeface="Calibri"/>
              </a:rPr>
              <a:t> </a:t>
            </a:r>
            <a:r>
              <a:rPr lang="en-US" dirty="0" err="1">
                <a:cs typeface="Calibri"/>
              </a:rPr>
              <a:t>zijn</a:t>
            </a:r>
            <a:r>
              <a:rPr lang="en-US" dirty="0">
                <a:cs typeface="Calibri"/>
              </a:rPr>
              <a:t>, </a:t>
            </a:r>
            <a:r>
              <a:rPr lang="en-US" dirty="0" err="1">
                <a:cs typeface="Calibri"/>
              </a:rPr>
              <a:t>beantwoord</a:t>
            </a:r>
            <a:r>
              <a:rPr lang="en-US" dirty="0">
                <a:cs typeface="Calibri"/>
              </a:rPr>
              <a:t> </a:t>
            </a:r>
            <a:r>
              <a:rPr lang="en-US" dirty="0" err="1">
                <a:cs typeface="Calibri"/>
              </a:rPr>
              <a:t>ik</a:t>
            </a:r>
            <a:r>
              <a:rPr lang="en-US" dirty="0">
                <a:cs typeface="Calibri"/>
              </a:rPr>
              <a:t> </a:t>
            </a:r>
            <a:r>
              <a:rPr lang="en-US" dirty="0" err="1">
                <a:cs typeface="Calibri"/>
              </a:rPr>
              <a:t>deze</a:t>
            </a:r>
            <a:r>
              <a:rPr lang="en-US" dirty="0">
                <a:cs typeface="Calibri"/>
              </a:rPr>
              <a:t> </a:t>
            </a:r>
            <a:r>
              <a:rPr lang="en-US" dirty="0" err="1">
                <a:cs typeface="Calibri"/>
              </a:rPr>
              <a:t>graag</a:t>
            </a:r>
            <a:r>
              <a:rPr lang="en-US" dirty="0">
                <a:cs typeface="Calibri"/>
              </a:rPr>
              <a:t> of </a:t>
            </a:r>
            <a:r>
              <a:rPr lang="en-US" dirty="0" err="1">
                <a:cs typeface="Calibri"/>
              </a:rPr>
              <a:t>kom</a:t>
            </a:r>
            <a:r>
              <a:rPr lang="en-US" dirty="0">
                <a:cs typeface="Calibri"/>
              </a:rPr>
              <a:t> </a:t>
            </a:r>
            <a:r>
              <a:rPr lang="en-US" dirty="0" err="1">
                <a:cs typeface="Calibri"/>
              </a:rPr>
              <a:t>gerust</a:t>
            </a:r>
            <a:r>
              <a:rPr lang="en-US" dirty="0">
                <a:cs typeface="Calibri"/>
              </a:rPr>
              <a:t> </a:t>
            </a:r>
            <a:r>
              <a:rPr lang="en-US" dirty="0" err="1">
                <a:cs typeface="Calibri"/>
              </a:rPr>
              <a:t>langs</a:t>
            </a:r>
            <a:r>
              <a:rPr lang="en-US" dirty="0">
                <a:cs typeface="Calibri"/>
              </a:rPr>
              <a:t> op </a:t>
            </a:r>
            <a:r>
              <a:rPr lang="en-US" dirty="0" err="1">
                <a:cs typeface="Calibri"/>
              </a:rPr>
              <a:t>onze</a:t>
            </a:r>
            <a:r>
              <a:rPr lang="en-US">
                <a:cs typeface="Calibri"/>
              </a:rPr>
              <a:t> stand</a:t>
            </a:r>
            <a:endParaRPr lang="en-US" dirty="0">
              <a:cs typeface="Calibri"/>
            </a:endParaRPr>
          </a:p>
        </p:txBody>
      </p:sp>
      <p:sp>
        <p:nvSpPr>
          <p:cNvPr id="4" name="Tijdelijke aanduiding voor dianummer 3"/>
          <p:cNvSpPr>
            <a:spLocks noGrp="1"/>
          </p:cNvSpPr>
          <p:nvPr>
            <p:ph type="sldNum" sz="quarter" idx="5"/>
          </p:nvPr>
        </p:nvSpPr>
        <p:spPr/>
        <p:txBody>
          <a:bodyPr/>
          <a:lstStyle/>
          <a:p>
            <a:fld id="{0CE2997D-9EEB-49E9-9418-36A9DCB35C4E}" type="slidenum">
              <a:t>14</a:t>
            </a:fld>
            <a:endParaRPr lang="nl-NL"/>
          </a:p>
        </p:txBody>
      </p:sp>
    </p:spTree>
    <p:extLst>
      <p:ext uri="{BB962C8B-B14F-4D97-AF65-F5344CB8AC3E}">
        <p14:creationId xmlns:p14="http://schemas.microsoft.com/office/powerpoint/2010/main" val="2718064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Ondergeschoven kindje onder de loep nemen</a:t>
            </a:r>
          </a:p>
          <a:p>
            <a:pPr marL="171450" indent="-171450">
              <a:buFont typeface="Arial" panose="020B0604020202020204" pitchFamily="34" charset="0"/>
              <a:buChar char="•"/>
            </a:pPr>
            <a:endParaRPr lang="nl-NL" dirty="0"/>
          </a:p>
          <a:p>
            <a:pPr marL="171450" indent="-171450">
              <a:buFont typeface="Arial" panose="020B0604020202020204" pitchFamily="34" charset="0"/>
              <a:buChar char="•"/>
            </a:pPr>
            <a:r>
              <a:rPr lang="nl-NL" dirty="0"/>
              <a:t>Direct vs. Indirect</a:t>
            </a:r>
          </a:p>
          <a:p>
            <a:pPr marL="171450" indent="-171450">
              <a:buFont typeface="Arial" panose="020B0604020202020204" pitchFamily="34" charset="0"/>
              <a:buChar char="•"/>
            </a:pPr>
            <a:r>
              <a:rPr lang="nl-NL" dirty="0"/>
              <a:t>Strategisch, tactisch en tailspend</a:t>
            </a:r>
          </a:p>
          <a:p>
            <a:pPr marL="171450" indent="-171450">
              <a:buFont typeface="Arial" panose="020B0604020202020204" pitchFamily="34" charset="0"/>
              <a:buChar char="•"/>
            </a:pPr>
            <a:r>
              <a:rPr lang="nl-NL" dirty="0"/>
              <a:t>Specifiek vandaag: verbruiksartikelen</a:t>
            </a:r>
          </a:p>
          <a:p>
            <a:pPr marL="171450" indent="-171450">
              <a:buFont typeface="Arial" panose="020B0604020202020204" pitchFamily="34" charset="0"/>
              <a:buChar char="•"/>
            </a:pPr>
            <a:endParaRPr lang="nl-NL" dirty="0"/>
          </a:p>
          <a:p>
            <a:pPr marL="0" indent="0">
              <a:buFont typeface="Arial" panose="020B0604020202020204" pitchFamily="34" charset="0"/>
              <a:buNone/>
            </a:pPr>
            <a:r>
              <a:rPr lang="nl-NL" dirty="0"/>
              <a:t>Lage volumes, waarom dan toch zo belangrijk? </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2</a:t>
            </a:fld>
            <a:endParaRPr lang="en-NL"/>
          </a:p>
        </p:txBody>
      </p:sp>
    </p:spTree>
    <p:extLst>
      <p:ext uri="{BB962C8B-B14F-4D97-AF65-F5344CB8AC3E}">
        <p14:creationId xmlns:p14="http://schemas.microsoft.com/office/powerpoint/2010/main" val="2266950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Klant</a:t>
            </a:r>
            <a:r>
              <a:rPr lang="en-US" dirty="0"/>
              <a:t> met </a:t>
            </a:r>
            <a:r>
              <a:rPr lang="en-US" dirty="0" err="1"/>
              <a:t>slechtvalk</a:t>
            </a:r>
            <a:r>
              <a:rPr lang="en-US" dirty="0"/>
              <a:t> in de </a:t>
            </a:r>
            <a:r>
              <a:rPr lang="en-US" dirty="0" err="1"/>
              <a:t>toren</a:t>
            </a:r>
            <a:endParaRPr lang="en-US" dirty="0"/>
          </a:p>
          <a:p>
            <a:endParaRPr lang="en-US" dirty="0"/>
          </a:p>
          <a:p>
            <a:r>
              <a:rPr lang="en-US" dirty="0" err="1"/>
              <a:t>Voederbakje</a:t>
            </a:r>
            <a:r>
              <a:rPr lang="en-US" dirty="0"/>
              <a:t>: https://www.mercateo.nl/p/CINL5-31732648/Gardena_Classic_reinigingspistool.html?ViewName=live_nl~secureMode</a:t>
            </a:r>
          </a:p>
          <a:p>
            <a:r>
              <a:rPr lang="en-US" dirty="0" err="1"/>
              <a:t>Spuitkop</a:t>
            </a:r>
            <a:r>
              <a:rPr lang="en-US" dirty="0"/>
              <a:t>: https://www.mercateo.nl/p/CINL5-31732648/Gardena_Classic_reinigingspistool.html?ViewName=live_nl~secureMode </a:t>
            </a:r>
          </a:p>
          <a:p>
            <a:r>
              <a:rPr lang="en-US" dirty="0"/>
              <a:t>EHBO: </a:t>
            </a:r>
            <a:r>
              <a:rPr lang="en-US" dirty="0">
                <a:hlinkClick r:id="rId3"/>
              </a:rPr>
              <a:t>https://www.mercateo.nl/p/88BUR-142414/verbandkoffer_DIN_13157_ABS_oranje_m_wandhouder.html?ViewName=live_nl~s.100!secureMode</a:t>
            </a:r>
            <a:r>
              <a:rPr lang="en-US" dirty="0"/>
              <a:t> </a:t>
            </a:r>
            <a:endParaRPr lang="en-US" dirty="0">
              <a:ea typeface="Calibri"/>
              <a:cs typeface="Calibri"/>
            </a:endParaRPr>
          </a:p>
        </p:txBody>
      </p:sp>
      <p:sp>
        <p:nvSpPr>
          <p:cNvPr id="4" name="Tijdelijke aanduiding voor dianummer 3"/>
          <p:cNvSpPr>
            <a:spLocks noGrp="1"/>
          </p:cNvSpPr>
          <p:nvPr>
            <p:ph type="sldNum" sz="quarter" idx="5"/>
          </p:nvPr>
        </p:nvSpPr>
        <p:spPr/>
        <p:txBody>
          <a:bodyPr/>
          <a:lstStyle/>
          <a:p>
            <a:fld id="{0CE2997D-9EEB-49E9-9418-36A9DCB35C4E}" type="slidenum">
              <a:rPr lang="nl-NL"/>
              <a:t>3</a:t>
            </a:fld>
            <a:endParaRPr lang="nl-NL"/>
          </a:p>
        </p:txBody>
      </p:sp>
    </p:spTree>
    <p:extLst>
      <p:ext uri="{BB962C8B-B14F-4D97-AF65-F5344CB8AC3E}">
        <p14:creationId xmlns:p14="http://schemas.microsoft.com/office/powerpoint/2010/main" val="3498990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Onderzoek McKinsey enkele jaren geleden: 7% groei per jaar sinds 2011</a:t>
            </a:r>
          </a:p>
          <a:p>
            <a:pPr marL="171450" indent="-171450">
              <a:buFont typeface="Wingdings" panose="05000000000000000000" pitchFamily="2" charset="2"/>
              <a:buChar char="è"/>
            </a:pPr>
            <a:r>
              <a:rPr lang="nl-NL" dirty="0"/>
              <a:t>Categorien verschuiven: Kantoorartikelen</a:t>
            </a:r>
          </a:p>
          <a:p>
            <a:pPr marL="171450" indent="-171450">
              <a:buFont typeface="Wingdings" panose="05000000000000000000" pitchFamily="2" charset="2"/>
              <a:buChar char="è"/>
            </a:pPr>
            <a:endParaRPr lang="nl-NL" dirty="0"/>
          </a:p>
          <a:p>
            <a:pPr marL="0" indent="0">
              <a:buFont typeface="Wingdings" panose="05000000000000000000" pitchFamily="2" charset="2"/>
              <a:buNone/>
            </a:pPr>
            <a:r>
              <a:rPr lang="nl-NL" dirty="0"/>
              <a:t>Waardoor zijn de kosten dan nu precies zo hoog?</a:t>
            </a:r>
          </a:p>
        </p:txBody>
      </p:sp>
      <p:sp>
        <p:nvSpPr>
          <p:cNvPr id="4" name="Slide Number Placeholder 3"/>
          <p:cNvSpPr>
            <a:spLocks noGrp="1"/>
          </p:cNvSpPr>
          <p:nvPr>
            <p:ph type="sldNum" sz="quarter" idx="5"/>
          </p:nvPr>
        </p:nvSpPr>
        <p:spPr/>
        <p:txBody>
          <a:bodyPr/>
          <a:lstStyle/>
          <a:p>
            <a:fld id="{0CE2997D-9EEB-49E9-9418-36A9DCB35C4E}" type="slidenum">
              <a:rPr lang="en-NL" smtClean="0"/>
              <a:t>4</a:t>
            </a:fld>
            <a:endParaRPr lang="en-NL"/>
          </a:p>
        </p:txBody>
      </p:sp>
    </p:spTree>
    <p:extLst>
      <p:ext uri="{BB962C8B-B14F-4D97-AF65-F5344CB8AC3E}">
        <p14:creationId xmlns:p14="http://schemas.microsoft.com/office/powerpoint/2010/main" val="3283047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ilspend staat niet of niet hoog op menige agenda.</a:t>
            </a:r>
          </a:p>
          <a:p>
            <a:pPr marL="171450" indent="-171450">
              <a:buFont typeface="Wingdings" panose="05000000000000000000" pitchFamily="2" charset="2"/>
              <a:buChar char="è"/>
            </a:pPr>
            <a:r>
              <a:rPr lang="nl-NL" dirty="0"/>
              <a:t>Niet herkenbaar -&gt; dus het probleem is niet bekend</a:t>
            </a:r>
          </a:p>
          <a:p>
            <a:pPr marL="171450" indent="-171450">
              <a:buFont typeface="Wingdings" panose="05000000000000000000" pitchFamily="2" charset="2"/>
              <a:buChar char="è"/>
            </a:pPr>
            <a:endParaRPr lang="nl-NL" dirty="0"/>
          </a:p>
          <a:p>
            <a:pPr marL="0" indent="0">
              <a:buFont typeface="Wingdings" panose="05000000000000000000" pitchFamily="2" charset="2"/>
              <a:buNone/>
            </a:pPr>
            <a:r>
              <a:rPr lang="nl-NL" dirty="0"/>
              <a:t>Gebrek aan inzicht en data:</a:t>
            </a:r>
          </a:p>
          <a:p>
            <a:pPr marL="171450" indent="-171450">
              <a:buFont typeface="Arial" panose="020B0604020202020204" pitchFamily="34" charset="0"/>
              <a:buChar char="•"/>
            </a:pPr>
            <a:r>
              <a:rPr lang="nl-NL" dirty="0"/>
              <a:t>Verborgen kosten</a:t>
            </a:r>
          </a:p>
          <a:p>
            <a:pPr marL="171450" indent="-171450">
              <a:buFont typeface="Arial" panose="020B0604020202020204" pitchFamily="34" charset="0"/>
              <a:buChar char="•"/>
            </a:pPr>
            <a:r>
              <a:rPr lang="nl-NL" dirty="0"/>
              <a:t>Wel degelijk belangrijk, het is dus zaak om dit op de agenda te krijgen</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5</a:t>
            </a:fld>
            <a:endParaRPr lang="en-NL"/>
          </a:p>
        </p:txBody>
      </p:sp>
    </p:spTree>
    <p:extLst>
      <p:ext uri="{BB962C8B-B14F-4D97-AF65-F5344CB8AC3E}">
        <p14:creationId xmlns:p14="http://schemas.microsoft.com/office/powerpoint/2010/main" val="10831399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WK-studie: 2017 -&gt; nog steeds een relevante basis</a:t>
            </a:r>
          </a:p>
        </p:txBody>
      </p:sp>
      <p:sp>
        <p:nvSpPr>
          <p:cNvPr id="4" name="Slide Number Placeholder 3"/>
          <p:cNvSpPr>
            <a:spLocks noGrp="1"/>
          </p:cNvSpPr>
          <p:nvPr>
            <p:ph type="sldNum" sz="quarter" idx="5"/>
          </p:nvPr>
        </p:nvSpPr>
        <p:spPr/>
        <p:txBody>
          <a:bodyPr/>
          <a:lstStyle/>
          <a:p>
            <a:fld id="{0CE2997D-9EEB-49E9-9418-36A9DCB35C4E}" type="slidenum">
              <a:rPr lang="en-NL" smtClean="0"/>
              <a:t>6</a:t>
            </a:fld>
            <a:endParaRPr lang="en-NL"/>
          </a:p>
        </p:txBody>
      </p:sp>
    </p:spTree>
    <p:extLst>
      <p:ext uri="{BB962C8B-B14F-4D97-AF65-F5344CB8AC3E}">
        <p14:creationId xmlns:p14="http://schemas.microsoft.com/office/powerpoint/2010/main" val="964780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Algemene stappen in het P2P proces</a:t>
            </a:r>
          </a:p>
          <a:p>
            <a:r>
              <a:rPr lang="nl-NL" dirty="0"/>
              <a:t>- Besparing specifiek gericht op gebruik Mercateo</a:t>
            </a:r>
          </a:p>
          <a:p>
            <a:endParaRPr lang="nl-NL" dirty="0"/>
          </a:p>
          <a:p>
            <a:r>
              <a:rPr lang="nl-NL" dirty="0"/>
              <a:t>- Stappen Leveranciersselectie + PO nagenoeg te vervallen </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7</a:t>
            </a:fld>
            <a:endParaRPr lang="en-NL"/>
          </a:p>
        </p:txBody>
      </p:sp>
    </p:spTree>
    <p:extLst>
      <p:ext uri="{BB962C8B-B14F-4D97-AF65-F5344CB8AC3E}">
        <p14:creationId xmlns:p14="http://schemas.microsoft.com/office/powerpoint/2010/main" val="1738533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ntuiitief, digitaal platform kan kosten aanzienlijk terugdringen</a:t>
            </a:r>
          </a:p>
          <a:p>
            <a:r>
              <a:rPr lang="nl-NL" dirty="0"/>
              <a:t>- Mercateo: tot wel 70% </a:t>
            </a:r>
          </a:p>
          <a:p>
            <a:endParaRPr lang="nl-NL" dirty="0"/>
          </a:p>
          <a:p>
            <a:r>
              <a:rPr lang="nl-NL" dirty="0"/>
              <a:t>Maar naast de proceskostenbesparing liggen er ook nog risico’s op de loer.</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8</a:t>
            </a:fld>
            <a:endParaRPr lang="en-NL"/>
          </a:p>
        </p:txBody>
      </p:sp>
    </p:spTree>
    <p:extLst>
      <p:ext uri="{BB962C8B-B14F-4D97-AF65-F5344CB8AC3E}">
        <p14:creationId xmlns:p14="http://schemas.microsoft.com/office/powerpoint/2010/main" val="3181587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l-NL" sz="1800" dirty="0">
                <a:effectLst/>
                <a:latin typeface="Calibri" panose="020F0502020204030204" pitchFamily="34" charset="0"/>
                <a:ea typeface="Calibri" panose="020F0502020204030204" pitchFamily="34" charset="0"/>
                <a:cs typeface="Arial" panose="020B0604020202020204" pitchFamily="34" charset="0"/>
              </a:rPr>
              <a:t>Compliance </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Silo’s</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Dichtgetimmerde processen</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Weg van minste weerstand</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l-NL" sz="1800" dirty="0">
                <a:effectLst/>
                <a:latin typeface="Calibri" panose="020F0502020204030204" pitchFamily="34" charset="0"/>
                <a:ea typeface="Calibri" panose="020F0502020204030204" pitchFamily="34" charset="0"/>
                <a:cs typeface="Arial" panose="020B0604020202020204" pitchFamily="34" charset="0"/>
              </a:rPr>
              <a:t>Controlle &amp; inzicht</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Maverick Buying</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Expenses &amp; creditcards</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Blinde vlek: geen data</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l-NL" sz="1800" dirty="0">
                <a:effectLst/>
                <a:latin typeface="Calibri" panose="020F0502020204030204" pitchFamily="34" charset="0"/>
                <a:ea typeface="Calibri" panose="020F0502020204030204" pitchFamily="34" charset="0"/>
                <a:cs typeface="Arial" panose="020B0604020202020204" pitchFamily="34" charset="0"/>
              </a:rPr>
              <a:t>ESG (contracten, certificaten)</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Spotlight: Duurzaamheid, oorlogen</a:t>
            </a:r>
            <a:endParaRPr lang="en-N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Reputatieschade / mensenrechtenschending</a:t>
            </a:r>
          </a:p>
          <a:p>
            <a:pPr marL="342900" lvl="0" indent="-342900">
              <a:lnSpc>
                <a:spcPct val="107000"/>
              </a:lnSpc>
              <a:spcAft>
                <a:spcPts val="800"/>
              </a:spcAft>
              <a:buFont typeface="Symbol" panose="05050102010706020507" pitchFamily="18" charset="2"/>
              <a:buChar char=""/>
            </a:pPr>
            <a:r>
              <a:rPr lang="nl-NL" sz="1800" dirty="0">
                <a:effectLst/>
                <a:latin typeface="Calibri" panose="020F0502020204030204" pitchFamily="34" charset="0"/>
                <a:ea typeface="Calibri" panose="020F0502020204030204" pitchFamily="34" charset="0"/>
                <a:cs typeface="Arial" panose="020B0604020202020204" pitchFamily="34" charset="0"/>
              </a:rPr>
              <a:t>Eerlijke marktwerking / neutraliteit (infrastructuur los van handel)</a:t>
            </a:r>
            <a:endParaRPr lang="en-NL" dirty="0"/>
          </a:p>
        </p:txBody>
      </p:sp>
      <p:sp>
        <p:nvSpPr>
          <p:cNvPr id="4" name="Slide Number Placeholder 3"/>
          <p:cNvSpPr>
            <a:spLocks noGrp="1"/>
          </p:cNvSpPr>
          <p:nvPr>
            <p:ph type="sldNum" sz="quarter" idx="5"/>
          </p:nvPr>
        </p:nvSpPr>
        <p:spPr/>
        <p:txBody>
          <a:bodyPr/>
          <a:lstStyle/>
          <a:p>
            <a:fld id="{0CE2997D-9EEB-49E9-9418-36A9DCB35C4E}" type="slidenum">
              <a:rPr lang="en-NL" smtClean="0"/>
              <a:t>9</a:t>
            </a:fld>
            <a:endParaRPr lang="en-NL"/>
          </a:p>
        </p:txBody>
      </p:sp>
    </p:spTree>
    <p:extLst>
      <p:ext uri="{BB962C8B-B14F-4D97-AF65-F5344CB8AC3E}">
        <p14:creationId xmlns:p14="http://schemas.microsoft.com/office/powerpoint/2010/main" val="30075304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6.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2.xml"/><Relationship Id="rId1" Type="http://schemas.openxmlformats.org/officeDocument/2006/relationships/tags" Target="../tags/tag111.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2.xml"/><Relationship Id="rId1" Type="http://schemas.openxmlformats.org/officeDocument/2006/relationships/tags" Target="../tags/tag114.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2.xml"/><Relationship Id="rId1" Type="http://schemas.openxmlformats.org/officeDocument/2006/relationships/tags" Target="../tags/tag117.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2.xml"/><Relationship Id="rId1" Type="http://schemas.openxmlformats.org/officeDocument/2006/relationships/tags" Target="../tags/tag118.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1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20.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2.xml"/><Relationship Id="rId1" Type="http://schemas.openxmlformats.org/officeDocument/2006/relationships/tags" Target="../tags/tag122.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2.xml"/><Relationship Id="rId1" Type="http://schemas.openxmlformats.org/officeDocument/2006/relationships/tags" Target="../tags/tag123.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2.xml"/><Relationship Id="rId1" Type="http://schemas.openxmlformats.org/officeDocument/2006/relationships/tags" Target="../tags/tag12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2.xml"/><Relationship Id="rId1" Type="http://schemas.openxmlformats.org/officeDocument/2006/relationships/tags" Target="../tags/tag125.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2.xml"/><Relationship Id="rId1" Type="http://schemas.openxmlformats.org/officeDocument/2006/relationships/tags" Target="../tags/tag12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2.xml"/><Relationship Id="rId1" Type="http://schemas.openxmlformats.org/officeDocument/2006/relationships/tags" Target="../tags/tag127.xml"/><Relationship Id="rId4" Type="http://schemas.openxmlformats.org/officeDocument/2006/relationships/image" Target="../media/image10.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2.xml"/><Relationship Id="rId1" Type="http://schemas.openxmlformats.org/officeDocument/2006/relationships/tags" Target="../tags/tag128.xml"/><Relationship Id="rId4" Type="http://schemas.openxmlformats.org/officeDocument/2006/relationships/image" Target="../media/image10.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2.xml"/><Relationship Id="rId1" Type="http://schemas.openxmlformats.org/officeDocument/2006/relationships/tags" Target="../tags/tag12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lank">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CB03FA-ACAF-4D0F-9B0B-AB20115D025C}"/>
              </a:ext>
            </a:extLst>
          </p:cNvPr>
          <p:cNvGraphicFramePr>
            <a:graphicFrameLocks noChangeAspect="1"/>
          </p:cNvGraphicFramePr>
          <p:nvPr>
            <p:custDataLst>
              <p:tags r:id="rId1"/>
            </p:custDataLst>
            <p:extLst>
              <p:ext uri="{D42A27DB-BD31-4B8C-83A1-F6EECF244321}">
                <p14:modId xmlns:p14="http://schemas.microsoft.com/office/powerpoint/2010/main" val="72755304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BCB03FA-ACAF-4D0F-9B0B-AB20115D025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p:cNvSpPr>
            <a:spLocks noGrp="1"/>
          </p:cNvSpPr>
          <p:nvPr>
            <p:ph type="ctrTitle" hasCustomPrompt="1"/>
          </p:nvPr>
        </p:nvSpPr>
        <p:spPr bwMode="gray">
          <a:xfrm>
            <a:off x="492388" y="1682960"/>
            <a:ext cx="11205415" cy="1774280"/>
          </a:xfrm>
        </p:spPr>
        <p:txBody>
          <a:bodyPr vert="horz" tIns="72000" anchor="t">
            <a:noAutofit/>
          </a:bodyPr>
          <a:lstStyle>
            <a:lvl1pPr algn="l" rtl="0">
              <a:lnSpc>
                <a:spcPct val="100000"/>
              </a:lnSpc>
              <a:defRPr sz="5473">
                <a:solidFill>
                  <a:schemeClr val="bg2"/>
                </a:solidFill>
                <a:latin typeface="Poppins Medium" panose="00000600000000000000" pitchFamily="2" charset="0"/>
                <a:cs typeface="Poppins Medium" panose="00000600000000000000" pitchFamily="2" charset="0"/>
              </a:defRPr>
            </a:lvl1pPr>
          </a:lstStyle>
          <a:p>
            <a:r>
              <a:rPr lang="en-US"/>
              <a:t>Insert headline here,</a:t>
            </a:r>
            <a:br>
              <a:rPr lang="en-US"/>
            </a:br>
            <a:r>
              <a:rPr lang="en-US"/>
              <a:t>Poppins Medium, 48pt</a:t>
            </a:r>
          </a:p>
        </p:txBody>
      </p:sp>
      <p:sp>
        <p:nvSpPr>
          <p:cNvPr id="3" name="Subtitle 2"/>
          <p:cNvSpPr>
            <a:spLocks noGrp="1"/>
          </p:cNvSpPr>
          <p:nvPr>
            <p:ph type="subTitle" idx="1" hasCustomPrompt="1"/>
          </p:nvPr>
        </p:nvSpPr>
        <p:spPr bwMode="gray">
          <a:xfrm>
            <a:off x="492387" y="3593014"/>
            <a:ext cx="11205414"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fld id="{D1841161-7AEA-45A0-9DD6-72288FE30A04}" type="datetimeFigureOut">
              <a:rPr lang="nl-NL" smtClean="0"/>
              <a:t>5-10-2023</a:t>
            </a:fld>
            <a:endParaRPr lang="nl-NL"/>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pic>
        <p:nvPicPr>
          <p:cNvPr id="6" name="Picture 2" descr="Unite_Mercateo_logo landscape_white_RGB@5x">
            <a:extLst>
              <a:ext uri="{FF2B5EF4-FFF2-40B4-BE49-F238E27FC236}">
                <a16:creationId xmlns:a16="http://schemas.microsoft.com/office/drawing/2014/main" id="{F4F55BF2-9C51-AD01-52B3-CF00C040074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51317" y="363465"/>
            <a:ext cx="4129237" cy="1097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141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Quote/key statement 36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3BE524-9818-4F81-834E-589588FA87C0}"/>
              </a:ext>
            </a:extLst>
          </p:cNvPr>
          <p:cNvGraphicFramePr>
            <a:graphicFrameLocks noChangeAspect="1"/>
          </p:cNvGraphicFramePr>
          <p:nvPr>
            <p:custDataLst>
              <p:tags r:id="rId1"/>
            </p:custDataLst>
            <p:extLst>
              <p:ext uri="{D42A27DB-BD31-4B8C-83A1-F6EECF244321}">
                <p14:modId xmlns:p14="http://schemas.microsoft.com/office/powerpoint/2010/main" val="222150025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03BE524-9818-4F81-834E-589588FA87C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2233217" y="3356813"/>
            <a:ext cx="9464584" cy="1556008"/>
          </a:xfrm>
        </p:spPr>
        <p:txBody>
          <a:bodyPr>
            <a:noAutofit/>
          </a:bodyPr>
          <a:lstStyle>
            <a:lvl1pPr marL="206366" indent="-206366" rtl="0">
              <a:lnSpc>
                <a:spcPct val="100000"/>
              </a:lnSpc>
              <a:buClr>
                <a:schemeClr val="bg2"/>
              </a:buClr>
              <a:buFont typeface="Poppins Light" panose="00000400000000000000" pitchFamily="2" charset="0"/>
              <a:buChar char="“"/>
              <a:defRPr sz="4105" i="1">
                <a:solidFill>
                  <a:schemeClr val="bg2"/>
                </a:solidFill>
                <a:latin typeface="Poppins Light" panose="00000400000000000000" pitchFamily="2" charset="0"/>
                <a:cs typeface="Poppins Light" panose="00000400000000000000" pitchFamily="2" charset="0"/>
              </a:defRPr>
            </a:lvl1pPr>
            <a:lvl2pPr marL="188264" indent="0" rtl="0">
              <a:lnSpc>
                <a:spcPct val="100000"/>
              </a:lnSpc>
              <a:spcBef>
                <a:spcPts val="1140"/>
              </a:spcBef>
              <a:buFont typeface="Arial" panose="020B0604020202020204" pitchFamily="34" charset="0"/>
              <a:buNone/>
              <a:defRPr sz="912">
                <a:solidFill>
                  <a:schemeClr val="bg2"/>
                </a:solidFill>
              </a:defRPr>
            </a:lvl2pPr>
          </a:lstStyle>
          <a:p>
            <a:pPr lvl="0"/>
            <a:r>
              <a:rPr lang="en-US"/>
              <a:t>Insert quote or key statement </a:t>
            </a:r>
            <a:br>
              <a:rPr lang="en-US"/>
            </a:br>
            <a:r>
              <a:rPr lang="en-US"/>
              <a:t>here, Poppins light italic, 36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92386" y="1666347"/>
            <a:ext cx="2251485" cy="2261245"/>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pic>
        <p:nvPicPr>
          <p:cNvPr id="7" name="Picture 2" descr="Unite_Mercateo_logo landscape_white_RGB@5x">
            <a:extLst>
              <a:ext uri="{FF2B5EF4-FFF2-40B4-BE49-F238E27FC236}">
                <a16:creationId xmlns:a16="http://schemas.microsoft.com/office/drawing/2014/main" id="{C3476594-ACCE-4D60-EE88-14625BA8C7E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85858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Reference slid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715CA73-2560-4FF9-B7A0-C378E9B5465B}"/>
              </a:ext>
            </a:extLst>
          </p:cNvPr>
          <p:cNvGraphicFramePr>
            <a:graphicFrameLocks noChangeAspect="1"/>
          </p:cNvGraphicFramePr>
          <p:nvPr>
            <p:custDataLst>
              <p:tags r:id="rId1"/>
            </p:custDataLst>
            <p:extLst>
              <p:ext uri="{D42A27DB-BD31-4B8C-83A1-F6EECF244321}">
                <p14:modId xmlns:p14="http://schemas.microsoft.com/office/powerpoint/2010/main" val="373499363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8715CA73-2560-4FF9-B7A0-C378E9B5465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4493027"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7B9B0638-B929-4BE2-B46B-E631233D1401}"/>
              </a:ext>
            </a:extLst>
          </p:cNvPr>
          <p:cNvSpPr>
            <a:spLocks noGrp="1"/>
          </p:cNvSpPr>
          <p:nvPr>
            <p:ph type="body" sz="quarter" idx="14" hasCustomPrompt="1"/>
          </p:nvPr>
        </p:nvSpPr>
        <p:spPr bwMode="gray">
          <a:xfrm>
            <a:off x="6248966" y="1666346"/>
            <a:ext cx="5448837" cy="230612"/>
          </a:xfrm>
        </p:spPr>
        <p:txBody>
          <a:bodyPr>
            <a:noAutofit/>
          </a:bodyPr>
          <a:lstStyle>
            <a:lvl1pPr rtl="0">
              <a:defRPr/>
            </a:lvl1pPr>
          </a:lstStyle>
          <a:p>
            <a:pPr lvl="0"/>
            <a:r>
              <a:rPr lang="en-US"/>
              <a:t>Reference</a:t>
            </a:r>
          </a:p>
        </p:txBody>
      </p:sp>
      <p:sp>
        <p:nvSpPr>
          <p:cNvPr id="10" name="Picture Placeholder 9">
            <a:extLst>
              <a:ext uri="{FF2B5EF4-FFF2-40B4-BE49-F238E27FC236}">
                <a16:creationId xmlns:a16="http://schemas.microsoft.com/office/drawing/2014/main" id="{F41FD802-CE25-4121-9351-10F94FE70967}"/>
              </a:ext>
            </a:extLst>
          </p:cNvPr>
          <p:cNvSpPr>
            <a:spLocks noGrp="1"/>
          </p:cNvSpPr>
          <p:nvPr>
            <p:ph type="pic" sz="quarter" idx="15" hasCustomPrompt="1"/>
          </p:nvPr>
        </p:nvSpPr>
        <p:spPr bwMode="gray">
          <a:xfrm>
            <a:off x="6248966" y="2197039"/>
            <a:ext cx="1625600" cy="782957"/>
          </a:xfrm>
          <a:solidFill>
            <a:srgbClr val="F0F0F2"/>
          </a:solidFill>
        </p:spPr>
        <p:txBody>
          <a:bodyPr/>
          <a:lstStyle>
            <a:lvl1pPr rtl="0">
              <a:defRPr/>
            </a:lvl1pPr>
          </a:lstStyle>
          <a:p>
            <a:r>
              <a:rPr lang="en-US"/>
              <a:t> </a:t>
            </a:r>
          </a:p>
        </p:txBody>
      </p:sp>
      <p:sp>
        <p:nvSpPr>
          <p:cNvPr id="12" name="Picture Placeholder 11">
            <a:extLst>
              <a:ext uri="{FF2B5EF4-FFF2-40B4-BE49-F238E27FC236}">
                <a16:creationId xmlns:a16="http://schemas.microsoft.com/office/drawing/2014/main" id="{FA3F7728-3A6D-47FA-A470-5F2461B69857}"/>
              </a:ext>
            </a:extLst>
          </p:cNvPr>
          <p:cNvSpPr>
            <a:spLocks noGrp="1"/>
          </p:cNvSpPr>
          <p:nvPr>
            <p:ph type="pic" sz="quarter" idx="16" hasCustomPrompt="1"/>
          </p:nvPr>
        </p:nvSpPr>
        <p:spPr bwMode="gray">
          <a:xfrm>
            <a:off x="8160584" y="2197039"/>
            <a:ext cx="1625599" cy="782957"/>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1C195223-5DC7-475A-B397-35D0A6DAD3CD}"/>
              </a:ext>
            </a:extLst>
          </p:cNvPr>
          <p:cNvSpPr>
            <a:spLocks noGrp="1"/>
          </p:cNvSpPr>
          <p:nvPr>
            <p:ph type="pic" sz="quarter" idx="17" hasCustomPrompt="1"/>
          </p:nvPr>
        </p:nvSpPr>
        <p:spPr bwMode="gray">
          <a:xfrm>
            <a:off x="10072202" y="2197039"/>
            <a:ext cx="1625628" cy="782957"/>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57E002BB-76E9-4F87-A8F1-B5AD95AD5958}"/>
              </a:ext>
            </a:extLst>
          </p:cNvPr>
          <p:cNvSpPr>
            <a:spLocks noGrp="1"/>
          </p:cNvSpPr>
          <p:nvPr>
            <p:ph type="pic" sz="quarter" idx="18" hasCustomPrompt="1"/>
          </p:nvPr>
        </p:nvSpPr>
        <p:spPr bwMode="gray">
          <a:xfrm>
            <a:off x="6248966" y="3264949"/>
            <a:ext cx="1625628" cy="782957"/>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B3FBA5F9-FF48-4BD2-8AF9-5EFCE19C5419}"/>
              </a:ext>
            </a:extLst>
          </p:cNvPr>
          <p:cNvSpPr>
            <a:spLocks noGrp="1"/>
          </p:cNvSpPr>
          <p:nvPr>
            <p:ph type="pic" sz="quarter" idx="19" hasCustomPrompt="1"/>
          </p:nvPr>
        </p:nvSpPr>
        <p:spPr bwMode="gray">
          <a:xfrm>
            <a:off x="8160584" y="3264949"/>
            <a:ext cx="1625628" cy="782957"/>
          </a:xfrm>
          <a:solidFill>
            <a:srgbClr val="F0F0F2"/>
          </a:solidFill>
        </p:spPr>
        <p:txBody>
          <a:bodyPr/>
          <a:lstStyle>
            <a:lvl1pPr rtl="0">
              <a:defRPr/>
            </a:lvl1pPr>
          </a:lstStyle>
          <a:p>
            <a:r>
              <a:rPr lang="en-US"/>
              <a:t> </a:t>
            </a:r>
          </a:p>
        </p:txBody>
      </p:sp>
      <p:sp>
        <p:nvSpPr>
          <p:cNvPr id="20" name="Picture Placeholder 19">
            <a:extLst>
              <a:ext uri="{FF2B5EF4-FFF2-40B4-BE49-F238E27FC236}">
                <a16:creationId xmlns:a16="http://schemas.microsoft.com/office/drawing/2014/main" id="{3B2B5B43-01B1-4494-880C-812F142D1DA5}"/>
              </a:ext>
            </a:extLst>
          </p:cNvPr>
          <p:cNvSpPr>
            <a:spLocks noGrp="1"/>
          </p:cNvSpPr>
          <p:nvPr>
            <p:ph type="pic" sz="quarter" idx="20" hasCustomPrompt="1"/>
          </p:nvPr>
        </p:nvSpPr>
        <p:spPr bwMode="gray">
          <a:xfrm>
            <a:off x="10072202" y="3264949"/>
            <a:ext cx="1625628" cy="782957"/>
          </a:xfrm>
          <a:solidFill>
            <a:srgbClr val="F0F0F2"/>
          </a:solidFill>
        </p:spPr>
        <p:txBody>
          <a:bodyPr/>
          <a:lstStyle>
            <a:lvl1pPr rtl="0">
              <a:defRPr/>
            </a:lvl1pPr>
          </a:lstStyle>
          <a:p>
            <a:r>
              <a:rPr lang="en-US"/>
              <a:t> </a:t>
            </a:r>
          </a:p>
        </p:txBody>
      </p:sp>
      <p:sp>
        <p:nvSpPr>
          <p:cNvPr id="22" name="Picture Placeholder 21">
            <a:extLst>
              <a:ext uri="{FF2B5EF4-FFF2-40B4-BE49-F238E27FC236}">
                <a16:creationId xmlns:a16="http://schemas.microsoft.com/office/drawing/2014/main" id="{3B07A90B-C31A-474F-98C1-4E65ECE2896A}"/>
              </a:ext>
            </a:extLst>
          </p:cNvPr>
          <p:cNvSpPr>
            <a:spLocks noGrp="1"/>
          </p:cNvSpPr>
          <p:nvPr>
            <p:ph type="pic" sz="quarter" idx="21" hasCustomPrompt="1"/>
          </p:nvPr>
        </p:nvSpPr>
        <p:spPr bwMode="gray">
          <a:xfrm>
            <a:off x="6248966" y="4332860"/>
            <a:ext cx="1625628" cy="782957"/>
          </a:xfrm>
          <a:solidFill>
            <a:srgbClr val="F0F0F2"/>
          </a:solidFill>
        </p:spPr>
        <p:txBody>
          <a:bodyPr/>
          <a:lstStyle>
            <a:lvl1pPr rtl="0">
              <a:defRPr/>
            </a:lvl1pPr>
          </a:lstStyle>
          <a:p>
            <a:r>
              <a:rPr lang="en-US"/>
              <a:t> </a:t>
            </a:r>
          </a:p>
        </p:txBody>
      </p:sp>
      <p:sp>
        <p:nvSpPr>
          <p:cNvPr id="24" name="Picture Placeholder 23">
            <a:extLst>
              <a:ext uri="{FF2B5EF4-FFF2-40B4-BE49-F238E27FC236}">
                <a16:creationId xmlns:a16="http://schemas.microsoft.com/office/drawing/2014/main" id="{EBFAEB7D-1834-4A64-98DA-356E2A328B90}"/>
              </a:ext>
            </a:extLst>
          </p:cNvPr>
          <p:cNvSpPr>
            <a:spLocks noGrp="1"/>
          </p:cNvSpPr>
          <p:nvPr>
            <p:ph type="pic" sz="quarter" idx="22" hasCustomPrompt="1"/>
          </p:nvPr>
        </p:nvSpPr>
        <p:spPr bwMode="gray">
          <a:xfrm>
            <a:off x="8160584" y="4332860"/>
            <a:ext cx="1625628" cy="782957"/>
          </a:xfrm>
          <a:solidFill>
            <a:srgbClr val="F0F0F2"/>
          </a:solidFill>
        </p:spPr>
        <p:txBody>
          <a:bodyPr/>
          <a:lstStyle>
            <a:lvl1pPr rtl="0">
              <a:defRPr/>
            </a:lvl1pPr>
          </a:lstStyle>
          <a:p>
            <a:r>
              <a:rPr lang="en-US"/>
              <a:t> </a:t>
            </a:r>
          </a:p>
        </p:txBody>
      </p:sp>
      <p:sp>
        <p:nvSpPr>
          <p:cNvPr id="26" name="Picture Placeholder 25">
            <a:extLst>
              <a:ext uri="{FF2B5EF4-FFF2-40B4-BE49-F238E27FC236}">
                <a16:creationId xmlns:a16="http://schemas.microsoft.com/office/drawing/2014/main" id="{4D76A67E-CF5C-450D-BBDB-11CD97C74115}"/>
              </a:ext>
            </a:extLst>
          </p:cNvPr>
          <p:cNvSpPr>
            <a:spLocks noGrp="1"/>
          </p:cNvSpPr>
          <p:nvPr>
            <p:ph type="pic" sz="quarter" idx="23" hasCustomPrompt="1"/>
          </p:nvPr>
        </p:nvSpPr>
        <p:spPr bwMode="gray">
          <a:xfrm>
            <a:off x="10072202" y="4332860"/>
            <a:ext cx="1625628" cy="782957"/>
          </a:xfrm>
          <a:solidFill>
            <a:srgbClr val="F0F0F2"/>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FE5749B4-7C72-4129-8F4A-4FA6F55889ED}"/>
              </a:ext>
            </a:extLst>
          </p:cNvPr>
          <p:cNvSpPr>
            <a:spLocks noGrp="1"/>
          </p:cNvSpPr>
          <p:nvPr>
            <p:ph type="pic" sz="quarter" idx="24" hasCustomPrompt="1"/>
          </p:nvPr>
        </p:nvSpPr>
        <p:spPr>
          <a:xfrm>
            <a:off x="6248966" y="496088"/>
            <a:ext cx="2581409" cy="632375"/>
          </a:xfrm>
        </p:spPr>
        <p:txBody>
          <a:bodyPr/>
          <a:lstStyle>
            <a:lvl1pPr>
              <a:defRPr/>
            </a:lvl1pPr>
          </a:lstStyle>
          <a:p>
            <a:r>
              <a:rPr lang="en-US"/>
              <a:t> </a:t>
            </a:r>
          </a:p>
        </p:txBody>
      </p:sp>
    </p:spTree>
    <p:extLst>
      <p:ext uri="{BB962C8B-B14F-4D97-AF65-F5344CB8AC3E}">
        <p14:creationId xmlns:p14="http://schemas.microsoft.com/office/powerpoint/2010/main" val="16970795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ody copy 2 columns  w/ benefits le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D14AB8C-1509-4E55-9412-6381FB79712D}"/>
              </a:ext>
            </a:extLst>
          </p:cNvPr>
          <p:cNvGraphicFramePr>
            <a:graphicFrameLocks noChangeAspect="1"/>
          </p:cNvGraphicFramePr>
          <p:nvPr>
            <p:custDataLst>
              <p:tags r:id="rId1"/>
            </p:custDataLst>
            <p:extLst>
              <p:ext uri="{D42A27DB-BD31-4B8C-83A1-F6EECF244321}">
                <p14:modId xmlns:p14="http://schemas.microsoft.com/office/powerpoint/2010/main" val="18803611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CD14AB8C-1509-4E55-9412-6381FB79712D}"/>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lnSpc>
                <a:spcPct val="120000"/>
              </a:lnSpc>
              <a:defRPr sz="1824" b="0">
                <a:latin typeface="Poppins Medium" panose="00000600000000000000" pitchFamily="2" charset="0"/>
                <a:cs typeface="Poppins Medium" panose="00000600000000000000" pitchFamily="2" charset="0"/>
              </a:defRPr>
            </a:lvl1pPr>
            <a:lvl2pPr marL="0" indent="0" rtl="0">
              <a:spcBef>
                <a:spcPts val="1710"/>
              </a:spcBef>
              <a:buFont typeface="Arial" panose="020B0604020202020204" pitchFamily="34" charset="0"/>
              <a:buNone/>
              <a:defRPr/>
            </a:lvl2pPr>
            <a:lvl3pPr marL="246305" indent="-246305" rtl="0">
              <a:spcBef>
                <a:spcPts val="684"/>
              </a:spcBef>
              <a:buFont typeface="UniteFont" panose="02000509000000000000" pitchFamily="49" charset="0"/>
              <a:buChar char="+"/>
              <a:defRPr/>
            </a:lvl3pPr>
            <a:lvl4pPr marL="492610" indent="-246305" rtl="0">
              <a:spcBef>
                <a:spcPts val="684"/>
              </a:spcBef>
              <a:buFont typeface="UniteFont" panose="02000509000000000000" pitchFamily="49" charset="0"/>
              <a:buChar char="+"/>
              <a:defRPr/>
            </a:lvl4pPr>
            <a:lvl5pPr marL="738914" indent="-246305" rtl="0">
              <a:spcBef>
                <a:spcPts val="684"/>
              </a:spcBef>
              <a:buFont typeface="UniteFont" panose="02000509000000000000" pitchFamily="49" charset="0"/>
              <a:buChar char="+"/>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273245" y="1666345"/>
            <a:ext cx="4512940" cy="4121342"/>
          </a:xfrm>
        </p:spPr>
        <p:txBody>
          <a:bodyPr/>
          <a:lstStyle>
            <a:lvl1pPr rtl="0">
              <a:lnSpc>
                <a:spcPct val="120000"/>
              </a:lnSpc>
              <a:defRPr sz="1824" b="0">
                <a:latin typeface="Poppins Medium" panose="00000600000000000000" pitchFamily="2" charset="0"/>
                <a:cs typeface="Poppins Medium" panose="00000600000000000000" pitchFamily="2" charset="0"/>
              </a:defRPr>
            </a:lvl1pPr>
            <a:lvl2pPr marL="0" indent="0" rtl="0">
              <a:spcBef>
                <a:spcPts val="1710"/>
              </a:spcBef>
              <a:buFont typeface="Arial" panose="020B0604020202020204" pitchFamily="34" charset="0"/>
              <a:buNone/>
              <a:defRPr/>
            </a:lvl2pPr>
            <a:lvl3pPr marL="246305" indent="-246305" rtl="0">
              <a:spcBef>
                <a:spcPts val="684"/>
              </a:spcBef>
              <a:buFont typeface="UniteFont" panose="02000509000000000000" pitchFamily="49" charset="0"/>
              <a:buChar char="&gt;"/>
              <a:defRPr/>
            </a:lvl3pPr>
            <a:lvl4pPr marL="492610" indent="-246305" rtl="0">
              <a:spcBef>
                <a:spcPts val="684"/>
              </a:spcBef>
              <a:buFont typeface="UniteFont" panose="02000509000000000000" pitchFamily="49" charset="0"/>
              <a:buChar char="&gt;"/>
              <a:defRPr/>
            </a:lvl4pPr>
            <a:lvl5pPr marL="738914" indent="-246305" rtl="0">
              <a:spcBef>
                <a:spcPts val="684"/>
              </a:spcBef>
              <a:buFont typeface="UniteFont" panose="02000509000000000000" pitchFamily="49" charset="0"/>
              <a:buChar char="&gt;"/>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4142103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lumns w/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8F1ED4E-3E9B-4614-91A8-F206421B1A38}"/>
              </a:ext>
            </a:extLst>
          </p:cNvPr>
          <p:cNvGraphicFramePr>
            <a:graphicFrameLocks noChangeAspect="1"/>
          </p:cNvGraphicFramePr>
          <p:nvPr>
            <p:custDataLst>
              <p:tags r:id="rId1"/>
            </p:custDataLst>
            <p:extLst>
              <p:ext uri="{D42A27DB-BD31-4B8C-83A1-F6EECF244321}">
                <p14:modId xmlns:p14="http://schemas.microsoft.com/office/powerpoint/2010/main" val="180931082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8F1ED4E-3E9B-4614-91A8-F206421B1A3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63DAE-541D-401D-92F6-286DEE8B8015}"/>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478E5410-E6A1-4CD8-9A3B-BB42F65568AE}"/>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35BCAFF-5D9F-409D-B224-344F70C3499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A77BD11-B8D1-459B-AA22-00A4A0C0E0E3}"/>
              </a:ext>
            </a:extLst>
          </p:cNvPr>
          <p:cNvSpPr>
            <a:spLocks noGrp="1"/>
          </p:cNvSpPr>
          <p:nvPr>
            <p:ph type="body" sz="quarter" idx="13" hasCustomPrompt="1"/>
          </p:nvPr>
        </p:nvSpPr>
        <p:spPr bwMode="gray">
          <a:xfrm>
            <a:off x="492387" y="1666345"/>
            <a:ext cx="669791" cy="734407"/>
          </a:xfrm>
        </p:spPr>
        <p:txBody>
          <a:bodyPr>
            <a:noAutofit/>
          </a:bodyPr>
          <a:lstStyle>
            <a:lvl1pPr rtl="0">
              <a:lnSpc>
                <a:spcPct val="120000"/>
              </a:lnSpc>
              <a:defRPr sz="3421">
                <a:latin typeface="Poppins Medium" panose="00000600000000000000" pitchFamily="2" charset="0"/>
                <a:cs typeface="Poppins Medium" panose="00000600000000000000" pitchFamily="2" charset="0"/>
              </a:defRPr>
            </a:lvl1pPr>
          </a:lstStyle>
          <a:p>
            <a:pPr lvl="0"/>
            <a:r>
              <a:rPr lang="en-US"/>
              <a:t>1.</a:t>
            </a:r>
          </a:p>
        </p:txBody>
      </p:sp>
      <p:sp>
        <p:nvSpPr>
          <p:cNvPr id="9" name="Text Placeholder 8">
            <a:extLst>
              <a:ext uri="{FF2B5EF4-FFF2-40B4-BE49-F238E27FC236}">
                <a16:creationId xmlns:a16="http://schemas.microsoft.com/office/drawing/2014/main" id="{4D776FB7-C940-46F7-9887-948B8AFE9AA9}"/>
              </a:ext>
            </a:extLst>
          </p:cNvPr>
          <p:cNvSpPr>
            <a:spLocks noGrp="1"/>
          </p:cNvSpPr>
          <p:nvPr>
            <p:ph type="body" sz="quarter" idx="14"/>
          </p:nvPr>
        </p:nvSpPr>
        <p:spPr bwMode="gray">
          <a:xfrm>
            <a:off x="1162177" y="1666345"/>
            <a:ext cx="4780857" cy="734407"/>
          </a:xfrm>
        </p:spPr>
        <p:txBody>
          <a:bodyPr>
            <a:noAutofit/>
          </a:bodyPr>
          <a:lstStyle>
            <a:lvl1pPr rtl="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C2ACF75D-9F02-4A92-BFD8-344AC61BB71A}"/>
              </a:ext>
            </a:extLst>
          </p:cNvPr>
          <p:cNvSpPr>
            <a:spLocks noGrp="1"/>
          </p:cNvSpPr>
          <p:nvPr>
            <p:ph type="body" sz="quarter" idx="15" hasCustomPrompt="1"/>
          </p:nvPr>
        </p:nvSpPr>
        <p:spPr bwMode="gray">
          <a:xfrm>
            <a:off x="6248966" y="1666345"/>
            <a:ext cx="669791" cy="734407"/>
          </a:xfrm>
        </p:spPr>
        <p:txBody>
          <a:bodyPr>
            <a:noAutofit/>
          </a:bodyPr>
          <a:lstStyle>
            <a:lvl1pPr rtl="0">
              <a:lnSpc>
                <a:spcPct val="120000"/>
              </a:lnSpc>
              <a:defRPr sz="3421">
                <a:latin typeface="Poppins Medium" panose="00000600000000000000" pitchFamily="2" charset="0"/>
                <a:cs typeface="Poppins Medium" panose="00000600000000000000" pitchFamily="2" charset="0"/>
              </a:defRPr>
            </a:lvl1pPr>
          </a:lstStyle>
          <a:p>
            <a:pPr lvl="0"/>
            <a:r>
              <a:rPr lang="en-US"/>
              <a:t>2.</a:t>
            </a:r>
          </a:p>
        </p:txBody>
      </p:sp>
      <p:sp>
        <p:nvSpPr>
          <p:cNvPr id="13" name="Text Placeholder 12">
            <a:extLst>
              <a:ext uri="{FF2B5EF4-FFF2-40B4-BE49-F238E27FC236}">
                <a16:creationId xmlns:a16="http://schemas.microsoft.com/office/drawing/2014/main" id="{5DBD01DD-7C8B-4D4F-864D-56EAD46A585B}"/>
              </a:ext>
            </a:extLst>
          </p:cNvPr>
          <p:cNvSpPr>
            <a:spLocks noGrp="1"/>
          </p:cNvSpPr>
          <p:nvPr>
            <p:ph type="body" sz="quarter" idx="16"/>
          </p:nvPr>
        </p:nvSpPr>
        <p:spPr bwMode="gray">
          <a:xfrm>
            <a:off x="6918756" y="1666345"/>
            <a:ext cx="4779045" cy="734407"/>
          </a:xfrm>
        </p:spPr>
        <p:txBody>
          <a:bodyPr>
            <a:noAutofit/>
          </a:bodyPr>
          <a:lstStyle>
            <a:lvl1pPr rtl="0">
              <a:defRPr/>
            </a:lvl1pPr>
          </a:lstStyle>
          <a:p>
            <a:pPr lvl="0"/>
            <a:r>
              <a:rPr lang="en-US"/>
              <a:t>Click to edit Master text styles</a:t>
            </a:r>
          </a:p>
        </p:txBody>
      </p:sp>
      <p:sp>
        <p:nvSpPr>
          <p:cNvPr id="15" name="Picture Placeholder 14">
            <a:extLst>
              <a:ext uri="{FF2B5EF4-FFF2-40B4-BE49-F238E27FC236}">
                <a16:creationId xmlns:a16="http://schemas.microsoft.com/office/drawing/2014/main" id="{AEE884FF-E010-41C0-9813-43306802C365}"/>
              </a:ext>
            </a:extLst>
          </p:cNvPr>
          <p:cNvSpPr>
            <a:spLocks noGrp="1"/>
          </p:cNvSpPr>
          <p:nvPr>
            <p:ph type="pic" sz="quarter" idx="17" hasCustomPrompt="1"/>
          </p:nvPr>
        </p:nvSpPr>
        <p:spPr bwMode="gray">
          <a:xfrm>
            <a:off x="492387" y="2738839"/>
            <a:ext cx="5448837" cy="3048849"/>
          </a:xfrm>
          <a:solidFill>
            <a:srgbClr val="F0F0F2"/>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09A8E861-306F-41F4-9C49-8FA9B5533D0B}"/>
              </a:ext>
            </a:extLst>
          </p:cNvPr>
          <p:cNvSpPr>
            <a:spLocks noGrp="1"/>
          </p:cNvSpPr>
          <p:nvPr>
            <p:ph type="pic" sz="quarter" idx="18" hasCustomPrompt="1"/>
          </p:nvPr>
        </p:nvSpPr>
        <p:spPr bwMode="gray">
          <a:xfrm>
            <a:off x="6248966" y="2738839"/>
            <a:ext cx="5448837" cy="3048849"/>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29315302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Four columns w/ image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BFE539C-FE33-4151-8055-3B6BB5618915}"/>
              </a:ext>
            </a:extLst>
          </p:cNvPr>
          <p:cNvGraphicFramePr>
            <a:graphicFrameLocks noChangeAspect="1"/>
          </p:cNvGraphicFramePr>
          <p:nvPr>
            <p:custDataLst>
              <p:tags r:id="rId1"/>
            </p:custDataLst>
            <p:extLst>
              <p:ext uri="{D42A27DB-BD31-4B8C-83A1-F6EECF244321}">
                <p14:modId xmlns:p14="http://schemas.microsoft.com/office/powerpoint/2010/main" val="158417757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8BFE539C-FE33-4151-8055-3B6BB561891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1911619" cy="1936789"/>
          </a:xfrm>
        </p:spPr>
        <p:txBody>
          <a:bodyPr/>
          <a:lstStyle>
            <a:lvl1pPr rtl="0">
              <a:defRPr b="1">
                <a:latin typeface="+mn-lt"/>
              </a:defRPr>
            </a:lvl1pPr>
            <a:lvl2pPr marL="0" indent="0" rtl="0">
              <a:spcBef>
                <a:spcPts val="0"/>
              </a:spcBef>
              <a:buFont typeface="Arial" panose="020B0604020202020204" pitchFamily="34" charset="0"/>
              <a:buNone/>
              <a:defRPr/>
            </a:lvl2pPr>
            <a:lvl3pPr marL="246305" indent="-246305">
              <a:defRPr/>
            </a:lvl3pPr>
            <a:lvl4pPr marL="492610" indent="-246305">
              <a:defRPr/>
            </a:lvl4pPr>
            <a:lvl5pPr marL="738914">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6248966" y="1666345"/>
            <a:ext cx="1911619" cy="1936789"/>
          </a:xfrm>
        </p:spPr>
        <p:txBody>
          <a:bodyPr/>
          <a:lstStyle>
            <a:lvl1pPr rtl="0">
              <a:defRPr b="1"/>
            </a:lvl1pPr>
            <a:lvl2pPr marL="0" indent="0" rtl="0">
              <a:spcBef>
                <a:spcPts val="0"/>
              </a:spcBef>
              <a:buFont typeface="Arial" panose="020B0604020202020204" pitchFamily="34" charset="0"/>
              <a:buNone/>
              <a:defRPr/>
            </a:lvl2pPr>
            <a:lvl3pPr marL="246305">
              <a:defRPr/>
            </a:lvl3pPr>
            <a:lvl4pPr marL="492610">
              <a:defRPr/>
            </a:lvl4pPr>
            <a:lvl5pPr marL="738914">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492387" y="3850899"/>
            <a:ext cx="1911617" cy="1936789"/>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6248967" y="3850899"/>
            <a:ext cx="1911616" cy="1936789"/>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2737091" y="1666345"/>
            <a:ext cx="3205942" cy="1936789"/>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8491702" y="1666345"/>
            <a:ext cx="3206101" cy="1936789"/>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2737090" y="3850899"/>
            <a:ext cx="3206101" cy="1936789"/>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8491702" y="3850899"/>
            <a:ext cx="3206101" cy="1936789"/>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41440569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3 columns with Logo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A90D660-A2FC-4E3B-B931-C2CBD2717081}"/>
              </a:ext>
            </a:extLst>
          </p:cNvPr>
          <p:cNvGraphicFramePr>
            <a:graphicFrameLocks noChangeAspect="1"/>
          </p:cNvGraphicFramePr>
          <p:nvPr>
            <p:custDataLst>
              <p:tags r:id="rId1"/>
            </p:custDataLst>
            <p:extLst>
              <p:ext uri="{D42A27DB-BD31-4B8C-83A1-F6EECF244321}">
                <p14:modId xmlns:p14="http://schemas.microsoft.com/office/powerpoint/2010/main" val="378015778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CA90D660-A2FC-4E3B-B931-C2CBD271708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2512056"/>
            <a:ext cx="3537217" cy="3275631"/>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5" y="2512056"/>
            <a:ext cx="3558941" cy="3275631"/>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8160583" y="2512056"/>
            <a:ext cx="3537219" cy="3275630"/>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9" name="Picture Placeholder 8">
            <a:extLst>
              <a:ext uri="{FF2B5EF4-FFF2-40B4-BE49-F238E27FC236}">
                <a16:creationId xmlns:a16="http://schemas.microsoft.com/office/drawing/2014/main" id="{BA1F234A-F91A-4672-B5DE-CC0C74019387}"/>
              </a:ext>
            </a:extLst>
          </p:cNvPr>
          <p:cNvSpPr>
            <a:spLocks noGrp="1"/>
          </p:cNvSpPr>
          <p:nvPr>
            <p:ph type="pic" sz="quarter" idx="16" hasCustomPrompt="1"/>
          </p:nvPr>
        </p:nvSpPr>
        <p:spPr bwMode="gray">
          <a:xfrm>
            <a:off x="492388" y="1666346"/>
            <a:ext cx="2867427" cy="618124"/>
          </a:xfrm>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392FB5A-682D-4DF9-AF97-1B0605B0EEF0}"/>
              </a:ext>
            </a:extLst>
          </p:cNvPr>
          <p:cNvSpPr>
            <a:spLocks noGrp="1"/>
          </p:cNvSpPr>
          <p:nvPr>
            <p:ph type="pic" sz="quarter" idx="17" hasCustomPrompt="1"/>
          </p:nvPr>
        </p:nvSpPr>
        <p:spPr bwMode="gray">
          <a:xfrm>
            <a:off x="4315624" y="1666346"/>
            <a:ext cx="2867427" cy="618124"/>
          </a:xfrm>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18CB8C12-6DBC-4C95-A8A7-D5EFE06C1A62}"/>
              </a:ext>
            </a:extLst>
          </p:cNvPr>
          <p:cNvSpPr>
            <a:spLocks noGrp="1"/>
          </p:cNvSpPr>
          <p:nvPr>
            <p:ph type="pic" sz="quarter" idx="18" hasCustomPrompt="1"/>
          </p:nvPr>
        </p:nvSpPr>
        <p:spPr bwMode="gray">
          <a:xfrm>
            <a:off x="8160583" y="1666346"/>
            <a:ext cx="2867427" cy="618124"/>
          </a:xfrm>
        </p:spPr>
        <p:txBody>
          <a:bodyPr/>
          <a:lstStyle>
            <a:lvl1pPr rtl="0">
              <a:defRPr/>
            </a:lvl1pPr>
          </a:lstStyle>
          <a:p>
            <a:r>
              <a:rPr lang="en-US"/>
              <a:t> </a:t>
            </a:r>
          </a:p>
        </p:txBody>
      </p:sp>
    </p:spTree>
    <p:extLst>
      <p:ext uri="{BB962C8B-B14F-4D97-AF65-F5344CB8AC3E}">
        <p14:creationId xmlns:p14="http://schemas.microsoft.com/office/powerpoint/2010/main" val="10374264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 key facts white">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83974E6-2BF0-4D29-9D5A-84C12BA50B91}"/>
              </a:ext>
            </a:extLst>
          </p:cNvPr>
          <p:cNvGraphicFramePr>
            <a:graphicFrameLocks noChangeAspect="1"/>
          </p:cNvGraphicFramePr>
          <p:nvPr>
            <p:custDataLst>
              <p:tags r:id="rId1"/>
            </p:custDataLst>
            <p:extLst>
              <p:ext uri="{D42A27DB-BD31-4B8C-83A1-F6EECF244321}">
                <p14:modId xmlns:p14="http://schemas.microsoft.com/office/powerpoint/2010/main" val="175356897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C83974E6-2BF0-4D29-9D5A-84C12BA50B9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C886770A-DFD3-4B72-8CE8-345CABCA8F98}"/>
              </a:ext>
            </a:extLst>
          </p:cNvPr>
          <p:cNvSpPr>
            <a:spLocks noGrp="1"/>
          </p:cNvSpPr>
          <p:nvPr>
            <p:ph type="body" sz="quarter" idx="14" hasCustomPrompt="1"/>
          </p:nvPr>
        </p:nvSpPr>
        <p:spPr bwMode="gray">
          <a:xfrm>
            <a:off x="8160583" y="1666344"/>
            <a:ext cx="3535602" cy="3550930"/>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BE08428D-D366-45FA-B91E-DFF57B152FEA}"/>
              </a:ext>
            </a:extLst>
          </p:cNvPr>
          <p:cNvSpPr>
            <a:spLocks noGrp="1"/>
          </p:cNvSpPr>
          <p:nvPr>
            <p:ph type="body" sz="quarter" idx="13" hasCustomPrompt="1"/>
          </p:nvPr>
        </p:nvSpPr>
        <p:spPr bwMode="gray">
          <a:xfrm>
            <a:off x="4326484"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A17F72EF-8BB1-4BE5-A6A1-BDAA34FDD3FA}"/>
              </a:ext>
            </a:extLst>
          </p:cNvPr>
          <p:cNvSpPr>
            <a:spLocks noGrp="1"/>
          </p:cNvSpPr>
          <p:nvPr>
            <p:ph type="body" sz="quarter" idx="12" hasCustomPrompt="1"/>
          </p:nvPr>
        </p:nvSpPr>
        <p:spPr bwMode="gray">
          <a:xfrm>
            <a:off x="492385"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25302750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3 key facts w/ image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130DB61-4438-4878-8AAA-3C89997296D1}"/>
              </a:ext>
            </a:extLst>
          </p:cNvPr>
          <p:cNvGraphicFramePr>
            <a:graphicFrameLocks noChangeAspect="1"/>
          </p:cNvGraphicFramePr>
          <p:nvPr>
            <p:custDataLst>
              <p:tags r:id="rId1"/>
            </p:custDataLst>
            <p:extLst>
              <p:ext uri="{D42A27DB-BD31-4B8C-83A1-F6EECF244321}">
                <p14:modId xmlns:p14="http://schemas.microsoft.com/office/powerpoint/2010/main" val="40719316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8130DB61-4438-4878-8AAA-3C89997296D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2B325ED7-B1C6-4F16-816A-AEABD69612B5}"/>
              </a:ext>
            </a:extLst>
          </p:cNvPr>
          <p:cNvSpPr>
            <a:spLocks noGrp="1"/>
          </p:cNvSpPr>
          <p:nvPr>
            <p:ph type="pic" sz="quarter" idx="15" hasCustomPrompt="1"/>
          </p:nvPr>
        </p:nvSpPr>
        <p:spPr bwMode="gray">
          <a:xfrm>
            <a:off x="-1" y="-1"/>
            <a:ext cx="12192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1" name="Text Placeholder 10">
            <a:extLst>
              <a:ext uri="{FF2B5EF4-FFF2-40B4-BE49-F238E27FC236}">
                <a16:creationId xmlns:a16="http://schemas.microsoft.com/office/drawing/2014/main" id="{D3000DA6-E72A-4450-86C4-EC2954057B14}"/>
              </a:ext>
            </a:extLst>
          </p:cNvPr>
          <p:cNvSpPr>
            <a:spLocks noGrp="1"/>
          </p:cNvSpPr>
          <p:nvPr>
            <p:ph type="body" sz="quarter" idx="16" hasCustomPrompt="1"/>
          </p:nvPr>
        </p:nvSpPr>
        <p:spPr bwMode="gray">
          <a:xfrm>
            <a:off x="500531" y="6092470"/>
            <a:ext cx="1227432" cy="296700"/>
          </a:xfrm>
          <a:blipFill>
            <a:blip r:embed="rId5">
              <a:extLst>
                <a:ext uri="{96DAC541-7B7A-43D3-8B79-37D633B846F1}">
                  <asvg:svgBlip xmlns:asvg="http://schemas.microsoft.com/office/drawing/2016/SVG/main" r:embed="rId6"/>
                </a:ext>
              </a:extLst>
            </a:blip>
            <a:stretch>
              <a:fillRect/>
            </a:stretch>
          </a:blipFill>
        </p:spPr>
        <p:txBody>
          <a:bodyPr/>
          <a:lstStyle>
            <a:lvl1pPr rtl="0">
              <a:defRPr/>
            </a:lvl1pPr>
          </a:lstStyle>
          <a:p>
            <a:pPr lvl="0"/>
            <a:r>
              <a:rPr lang="en-US"/>
              <a:t> </a:t>
            </a:r>
          </a:p>
        </p:txBody>
      </p:sp>
      <p:sp>
        <p:nvSpPr>
          <p:cNvPr id="15" name="Textplatzhalter 14">
            <a:extLst>
              <a:ext uri="{FF2B5EF4-FFF2-40B4-BE49-F238E27FC236}">
                <a16:creationId xmlns:a16="http://schemas.microsoft.com/office/drawing/2014/main" id="{07A2CE6C-C13A-4DBF-8074-D561E688271D}"/>
              </a:ext>
            </a:extLst>
          </p:cNvPr>
          <p:cNvSpPr>
            <a:spLocks noGrp="1"/>
          </p:cNvSpPr>
          <p:nvPr>
            <p:ph type="body" sz="quarter" idx="12" hasCustomPrompt="1"/>
          </p:nvPr>
        </p:nvSpPr>
        <p:spPr bwMode="gray">
          <a:xfrm>
            <a:off x="492385"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969BBD67-E8FF-49AF-ACB4-9288817C743F}"/>
              </a:ext>
            </a:extLst>
          </p:cNvPr>
          <p:cNvSpPr>
            <a:spLocks noGrp="1"/>
          </p:cNvSpPr>
          <p:nvPr>
            <p:ph type="body" sz="quarter" idx="13" hasCustomPrompt="1"/>
          </p:nvPr>
        </p:nvSpPr>
        <p:spPr bwMode="gray">
          <a:xfrm>
            <a:off x="4326484"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D4299233-DC89-4A7B-B322-CE39AB7FB46B}"/>
              </a:ext>
            </a:extLst>
          </p:cNvPr>
          <p:cNvSpPr>
            <a:spLocks noGrp="1"/>
          </p:cNvSpPr>
          <p:nvPr>
            <p:ph type="body" sz="quarter" idx="14" hasCustomPrompt="1"/>
          </p:nvPr>
        </p:nvSpPr>
        <p:spPr bwMode="gray">
          <a:xfrm>
            <a:off x="8160583" y="1666344"/>
            <a:ext cx="3535602" cy="3550930"/>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Tree>
    <p:extLst>
      <p:ext uri="{BB962C8B-B14F-4D97-AF65-F5344CB8AC3E}">
        <p14:creationId xmlns:p14="http://schemas.microsoft.com/office/powerpoint/2010/main" val="3118645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added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274326-C5A2-499E-862B-8594390C426E}"/>
              </a:ext>
            </a:extLst>
          </p:cNvPr>
          <p:cNvGraphicFramePr>
            <a:graphicFrameLocks noChangeAspect="1"/>
          </p:cNvGraphicFramePr>
          <p:nvPr>
            <p:custDataLst>
              <p:tags r:id="rId1"/>
            </p:custDataLst>
            <p:extLst>
              <p:ext uri="{D42A27DB-BD31-4B8C-83A1-F6EECF244321}">
                <p14:modId xmlns:p14="http://schemas.microsoft.com/office/powerpoint/2010/main" val="108040322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B8274326-C5A2-499E-862B-8594390C426E}"/>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31" name="Picture Placeholder 30">
            <a:extLst>
              <a:ext uri="{FF2B5EF4-FFF2-40B4-BE49-F238E27FC236}">
                <a16:creationId xmlns:a16="http://schemas.microsoft.com/office/drawing/2014/main" id="{3961525F-1942-429A-AE59-A91C7DBB99FF}"/>
              </a:ext>
            </a:extLst>
          </p:cNvPr>
          <p:cNvSpPr>
            <a:spLocks noGrp="1"/>
          </p:cNvSpPr>
          <p:nvPr>
            <p:ph type="pic" sz="quarter" idx="14" hasCustomPrompt="1"/>
          </p:nvPr>
        </p:nvSpPr>
        <p:spPr bwMode="gray">
          <a:xfrm>
            <a:off x="7402441" y="1237804"/>
            <a:ext cx="4786396" cy="5619681"/>
          </a:xfrm>
          <a:custGeom>
            <a:avLst/>
            <a:gdLst>
              <a:gd name="connsiteX0" fmla="*/ 2089800 w 4197445"/>
              <a:gd name="connsiteY0" fmla="*/ 0 h 4909416"/>
              <a:gd name="connsiteX1" fmla="*/ 2114342 w 4197445"/>
              <a:gd name="connsiteY1" fmla="*/ 0 h 4909416"/>
              <a:gd name="connsiteX2" fmla="*/ 2334906 w 4197445"/>
              <a:gd name="connsiteY2" fmla="*/ 7459 h 4909416"/>
              <a:gd name="connsiteX3" fmla="*/ 4197445 w 4197445"/>
              <a:gd name="connsiteY3" fmla="*/ 2098644 h 4909416"/>
              <a:gd name="connsiteX4" fmla="*/ 4197445 w 4197445"/>
              <a:gd name="connsiteY4" fmla="*/ 4909416 h 4909416"/>
              <a:gd name="connsiteX5" fmla="*/ 0 w 4197445"/>
              <a:gd name="connsiteY5" fmla="*/ 4909416 h 4909416"/>
              <a:gd name="connsiteX6" fmla="*/ 0 w 4197445"/>
              <a:gd name="connsiteY6" fmla="*/ 3645532 h 4909416"/>
              <a:gd name="connsiteX7" fmla="*/ 143068 w 4197445"/>
              <a:gd name="connsiteY7" fmla="*/ 3578331 h 4909416"/>
              <a:gd name="connsiteX8" fmla="*/ 886188 w 4197445"/>
              <a:gd name="connsiteY8" fmla="*/ 2783272 h 4909416"/>
              <a:gd name="connsiteX9" fmla="*/ 903587 w 4197445"/>
              <a:gd name="connsiteY9" fmla="*/ 2743268 h 4909416"/>
              <a:gd name="connsiteX10" fmla="*/ 938257 w 4197445"/>
              <a:gd name="connsiteY10" fmla="*/ 2655388 h 4909416"/>
              <a:gd name="connsiteX11" fmla="*/ 950956 w 4197445"/>
              <a:gd name="connsiteY11" fmla="*/ 2621480 h 4909416"/>
              <a:gd name="connsiteX12" fmla="*/ 950956 w 4197445"/>
              <a:gd name="connsiteY12" fmla="*/ 2620211 h 4909416"/>
              <a:gd name="connsiteX13" fmla="*/ 963656 w 4197445"/>
              <a:gd name="connsiteY13" fmla="*/ 2584398 h 4909416"/>
              <a:gd name="connsiteX14" fmla="*/ 975211 w 4197445"/>
              <a:gd name="connsiteY14" fmla="*/ 2548078 h 4909416"/>
              <a:gd name="connsiteX15" fmla="*/ 996673 w 4197445"/>
              <a:gd name="connsiteY15" fmla="*/ 2473786 h 4909416"/>
              <a:gd name="connsiteX16" fmla="*/ 1006070 w 4197445"/>
              <a:gd name="connsiteY16" fmla="*/ 2438100 h 4909416"/>
              <a:gd name="connsiteX17" fmla="*/ 1006070 w 4197445"/>
              <a:gd name="connsiteY17" fmla="*/ 2435941 h 4909416"/>
              <a:gd name="connsiteX18" fmla="*/ 1015213 w 4197445"/>
              <a:gd name="connsiteY18" fmla="*/ 2398731 h 4909416"/>
              <a:gd name="connsiteX19" fmla="*/ 1015213 w 4197445"/>
              <a:gd name="connsiteY19" fmla="*/ 2396446 h 4909416"/>
              <a:gd name="connsiteX20" fmla="*/ 1023724 w 4197445"/>
              <a:gd name="connsiteY20" fmla="*/ 2358347 h 4909416"/>
              <a:gd name="connsiteX21" fmla="*/ 1023724 w 4197445"/>
              <a:gd name="connsiteY21" fmla="*/ 2355554 h 4909416"/>
              <a:gd name="connsiteX22" fmla="*/ 1031342 w 4197445"/>
              <a:gd name="connsiteY22" fmla="*/ 2318852 h 4909416"/>
              <a:gd name="connsiteX23" fmla="*/ 1038582 w 4197445"/>
              <a:gd name="connsiteY23" fmla="*/ 2280753 h 4909416"/>
              <a:gd name="connsiteX24" fmla="*/ 1051281 w 4197445"/>
              <a:gd name="connsiteY24" fmla="*/ 2206080 h 4909416"/>
              <a:gd name="connsiteX25" fmla="*/ 1054456 w 4197445"/>
              <a:gd name="connsiteY25" fmla="*/ 2184492 h 4909416"/>
              <a:gd name="connsiteX26" fmla="*/ 1054456 w 4197445"/>
              <a:gd name="connsiteY26" fmla="*/ 2182205 h 4909416"/>
              <a:gd name="connsiteX27" fmla="*/ 1063853 w 4197445"/>
              <a:gd name="connsiteY27" fmla="*/ 2112232 h 4909416"/>
              <a:gd name="connsiteX28" fmla="*/ 1068804 w 4197445"/>
              <a:gd name="connsiteY28" fmla="*/ 2069434 h 4909416"/>
              <a:gd name="connsiteX29" fmla="*/ 1073123 w 4197445"/>
              <a:gd name="connsiteY29" fmla="*/ 2026129 h 4909416"/>
              <a:gd name="connsiteX30" fmla="*/ 1076933 w 4197445"/>
              <a:gd name="connsiteY30" fmla="*/ 1982190 h 4909416"/>
              <a:gd name="connsiteX31" fmla="*/ 1080109 w 4197445"/>
              <a:gd name="connsiteY31" fmla="*/ 1937741 h 4909416"/>
              <a:gd name="connsiteX32" fmla="*/ 1080109 w 4197445"/>
              <a:gd name="connsiteY32" fmla="*/ 1936598 h 4909416"/>
              <a:gd name="connsiteX33" fmla="*/ 1082521 w 4197445"/>
              <a:gd name="connsiteY33" fmla="*/ 1895452 h 4909416"/>
              <a:gd name="connsiteX34" fmla="*/ 1082521 w 4197445"/>
              <a:gd name="connsiteY34" fmla="*/ 1889483 h 4909416"/>
              <a:gd name="connsiteX35" fmla="*/ 1084173 w 4197445"/>
              <a:gd name="connsiteY35" fmla="*/ 1851385 h 4909416"/>
              <a:gd name="connsiteX36" fmla="*/ 1085696 w 4197445"/>
              <a:gd name="connsiteY36" fmla="*/ 1807064 h 4909416"/>
              <a:gd name="connsiteX37" fmla="*/ 1086458 w 4197445"/>
              <a:gd name="connsiteY37" fmla="*/ 1774045 h 4909416"/>
              <a:gd name="connsiteX38" fmla="*/ 1086458 w 4197445"/>
              <a:gd name="connsiteY38" fmla="*/ 1746233 h 4909416"/>
              <a:gd name="connsiteX39" fmla="*/ 1086458 w 4197445"/>
              <a:gd name="connsiteY39" fmla="*/ 1707119 h 4909416"/>
              <a:gd name="connsiteX40" fmla="*/ 1086458 w 4197445"/>
              <a:gd name="connsiteY40" fmla="*/ 180770 h 4909416"/>
              <a:gd name="connsiteX41" fmla="*/ 1821608 w 4197445"/>
              <a:gd name="connsiteY41" fmla="*/ 10774 h 490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97445" h="4909416">
                <a:moveTo>
                  <a:pt x="2089800" y="0"/>
                </a:moveTo>
                <a:lnTo>
                  <a:pt x="2114342" y="0"/>
                </a:lnTo>
                <a:lnTo>
                  <a:pt x="2334906" y="7459"/>
                </a:lnTo>
                <a:cubicBezTo>
                  <a:pt x="3476262" y="86654"/>
                  <a:pt x="4190066" y="761985"/>
                  <a:pt x="4197445" y="2098644"/>
                </a:cubicBezTo>
                <a:lnTo>
                  <a:pt x="4197445" y="4909416"/>
                </a:lnTo>
                <a:lnTo>
                  <a:pt x="0" y="4909416"/>
                </a:lnTo>
                <a:lnTo>
                  <a:pt x="0" y="3645532"/>
                </a:lnTo>
                <a:lnTo>
                  <a:pt x="143068" y="3578331"/>
                </a:lnTo>
                <a:cubicBezTo>
                  <a:pt x="472529" y="3405518"/>
                  <a:pt x="725397" y="3141746"/>
                  <a:pt x="886188" y="2783272"/>
                </a:cubicBezTo>
                <a:cubicBezTo>
                  <a:pt x="892029" y="2770572"/>
                  <a:pt x="897870" y="2756729"/>
                  <a:pt x="903587" y="2743268"/>
                </a:cubicBezTo>
                <a:cubicBezTo>
                  <a:pt x="915651" y="2714567"/>
                  <a:pt x="927206" y="2685271"/>
                  <a:pt x="938257" y="2655388"/>
                </a:cubicBezTo>
                <a:lnTo>
                  <a:pt x="950956" y="2621480"/>
                </a:lnTo>
                <a:lnTo>
                  <a:pt x="950956" y="2620211"/>
                </a:lnTo>
                <a:cubicBezTo>
                  <a:pt x="955017" y="2608273"/>
                  <a:pt x="959082" y="2596334"/>
                  <a:pt x="963656" y="2584398"/>
                </a:cubicBezTo>
                <a:cubicBezTo>
                  <a:pt x="968226" y="2572459"/>
                  <a:pt x="971401" y="2560269"/>
                  <a:pt x="975211" y="2548078"/>
                </a:cubicBezTo>
                <a:cubicBezTo>
                  <a:pt x="982832" y="2523695"/>
                  <a:pt x="989941" y="2498931"/>
                  <a:pt x="996673" y="2473786"/>
                </a:cubicBezTo>
                <a:cubicBezTo>
                  <a:pt x="999847" y="2461975"/>
                  <a:pt x="1003022" y="2450038"/>
                  <a:pt x="1006070" y="2438100"/>
                </a:cubicBezTo>
                <a:cubicBezTo>
                  <a:pt x="1005943" y="2437376"/>
                  <a:pt x="1005943" y="2436665"/>
                  <a:pt x="1006070" y="2435941"/>
                </a:cubicBezTo>
                <a:lnTo>
                  <a:pt x="1015213" y="2398731"/>
                </a:lnTo>
                <a:cubicBezTo>
                  <a:pt x="1015213" y="2397970"/>
                  <a:pt x="1015213" y="2397208"/>
                  <a:pt x="1015213" y="2396446"/>
                </a:cubicBezTo>
                <a:cubicBezTo>
                  <a:pt x="1018133" y="2383746"/>
                  <a:pt x="1020930" y="2371047"/>
                  <a:pt x="1023724" y="2358347"/>
                </a:cubicBezTo>
                <a:cubicBezTo>
                  <a:pt x="1023724" y="2357458"/>
                  <a:pt x="1023724" y="2356443"/>
                  <a:pt x="1023724" y="2355554"/>
                </a:cubicBezTo>
                <a:cubicBezTo>
                  <a:pt x="1026390" y="2342855"/>
                  <a:pt x="1028930" y="2331170"/>
                  <a:pt x="1031342" y="2318852"/>
                </a:cubicBezTo>
                <a:cubicBezTo>
                  <a:pt x="1033757" y="2306533"/>
                  <a:pt x="1036296" y="2293453"/>
                  <a:pt x="1038582" y="2280753"/>
                </a:cubicBezTo>
                <a:cubicBezTo>
                  <a:pt x="1043155" y="2256282"/>
                  <a:pt x="1047343" y="2231391"/>
                  <a:pt x="1051281" y="2206080"/>
                </a:cubicBezTo>
                <a:cubicBezTo>
                  <a:pt x="1052297" y="2198969"/>
                  <a:pt x="1053438" y="2191730"/>
                  <a:pt x="1054456" y="2184492"/>
                </a:cubicBezTo>
                <a:lnTo>
                  <a:pt x="1054456" y="2182205"/>
                </a:lnTo>
                <a:cubicBezTo>
                  <a:pt x="1057885" y="2159258"/>
                  <a:pt x="1060933" y="2135942"/>
                  <a:pt x="1063853" y="2112232"/>
                </a:cubicBezTo>
                <a:cubicBezTo>
                  <a:pt x="1065630" y="2098136"/>
                  <a:pt x="1067282" y="2083786"/>
                  <a:pt x="1068804" y="2069434"/>
                </a:cubicBezTo>
                <a:cubicBezTo>
                  <a:pt x="1070330" y="2055084"/>
                  <a:pt x="1071855" y="2040607"/>
                  <a:pt x="1073123" y="2026129"/>
                </a:cubicBezTo>
                <a:cubicBezTo>
                  <a:pt x="1074395" y="2011653"/>
                  <a:pt x="1075789" y="1996921"/>
                  <a:pt x="1076933" y="1982190"/>
                </a:cubicBezTo>
                <a:cubicBezTo>
                  <a:pt x="1078079" y="1967458"/>
                  <a:pt x="1079219" y="1952599"/>
                  <a:pt x="1080109" y="1937741"/>
                </a:cubicBezTo>
                <a:cubicBezTo>
                  <a:pt x="1080109" y="1937361"/>
                  <a:pt x="1080109" y="1936980"/>
                  <a:pt x="1080109" y="1936598"/>
                </a:cubicBezTo>
                <a:cubicBezTo>
                  <a:pt x="1080999" y="1922883"/>
                  <a:pt x="1081759" y="1909294"/>
                  <a:pt x="1082521" y="1895452"/>
                </a:cubicBezTo>
                <a:cubicBezTo>
                  <a:pt x="1082521" y="1893547"/>
                  <a:pt x="1082521" y="1891515"/>
                  <a:pt x="1082521" y="1889483"/>
                </a:cubicBezTo>
                <a:cubicBezTo>
                  <a:pt x="1082521" y="1876784"/>
                  <a:pt x="1083792" y="1864084"/>
                  <a:pt x="1084173" y="1851385"/>
                </a:cubicBezTo>
                <a:cubicBezTo>
                  <a:pt x="1084173" y="1836653"/>
                  <a:pt x="1085314" y="1821922"/>
                  <a:pt x="1085696" y="1807064"/>
                </a:cubicBezTo>
                <a:cubicBezTo>
                  <a:pt x="1085696" y="1796143"/>
                  <a:pt x="1085696" y="1785093"/>
                  <a:pt x="1086458" y="1774045"/>
                </a:cubicBezTo>
                <a:cubicBezTo>
                  <a:pt x="1087221" y="1762996"/>
                  <a:pt x="1086458" y="1755505"/>
                  <a:pt x="1086458" y="1746233"/>
                </a:cubicBezTo>
                <a:cubicBezTo>
                  <a:pt x="1086458" y="1733534"/>
                  <a:pt x="1086458" y="1720834"/>
                  <a:pt x="1086458" y="1707119"/>
                </a:cubicBezTo>
                <a:lnTo>
                  <a:pt x="1086458" y="180770"/>
                </a:lnTo>
                <a:cubicBezTo>
                  <a:pt x="1304096" y="89620"/>
                  <a:pt x="1550379" y="33258"/>
                  <a:pt x="1821608" y="10774"/>
                </a:cubicBezTo>
                <a:close/>
              </a:path>
            </a:pathLst>
          </a:custGeom>
          <a:solidFill>
            <a:schemeClr val="bg1"/>
          </a:solidFill>
        </p:spPr>
        <p:txBody>
          <a:bodyPr wrap="square">
            <a:noAutofit/>
          </a:bodyPr>
          <a:lstStyle>
            <a:lvl1pPr rtl="0">
              <a:defRPr/>
            </a:lvl1pPr>
          </a:lstStyle>
          <a:p>
            <a:r>
              <a:rPr lang="en-US"/>
              <a:t> </a:t>
            </a:r>
          </a:p>
        </p:txBody>
      </p:sp>
      <p:sp>
        <p:nvSpPr>
          <p:cNvPr id="28" name="Picture Placeholder 27">
            <a:extLst>
              <a:ext uri="{FF2B5EF4-FFF2-40B4-BE49-F238E27FC236}">
                <a16:creationId xmlns:a16="http://schemas.microsoft.com/office/drawing/2014/main" id="{5BDDFE71-EDC0-4167-9A7F-4E81E78CF4DF}"/>
              </a:ext>
            </a:extLst>
          </p:cNvPr>
          <p:cNvSpPr>
            <a:spLocks noGrp="1"/>
          </p:cNvSpPr>
          <p:nvPr>
            <p:ph type="pic" sz="quarter" idx="13" hasCustomPrompt="1"/>
          </p:nvPr>
        </p:nvSpPr>
        <p:spPr bwMode="gray">
          <a:xfrm>
            <a:off x="3859580" y="1"/>
            <a:ext cx="4785092" cy="5619682"/>
          </a:xfrm>
          <a:custGeom>
            <a:avLst/>
            <a:gdLst>
              <a:gd name="connsiteX0" fmla="*/ 0 w 4196302"/>
              <a:gd name="connsiteY0" fmla="*/ 0 h 4909417"/>
              <a:gd name="connsiteX1" fmla="*/ 4196302 w 4196302"/>
              <a:gd name="connsiteY1" fmla="*/ 0 h 4909417"/>
              <a:gd name="connsiteX2" fmla="*/ 4196302 w 4196302"/>
              <a:gd name="connsiteY2" fmla="*/ 1262130 h 4909417"/>
              <a:gd name="connsiteX3" fmla="*/ 3295530 w 4196302"/>
              <a:gd name="connsiteY3" fmla="*/ 2151093 h 4909417"/>
              <a:gd name="connsiteX4" fmla="*/ 3259462 w 4196302"/>
              <a:gd name="connsiteY4" fmla="*/ 2239989 h 4909417"/>
              <a:gd name="connsiteX5" fmla="*/ 3242825 w 4196302"/>
              <a:gd name="connsiteY5" fmla="*/ 2286089 h 4909417"/>
              <a:gd name="connsiteX6" fmla="*/ 3242825 w 4196302"/>
              <a:gd name="connsiteY6" fmla="*/ 2287358 h 4909417"/>
              <a:gd name="connsiteX7" fmla="*/ 3230125 w 4196302"/>
              <a:gd name="connsiteY7" fmla="*/ 2323171 h 4909417"/>
              <a:gd name="connsiteX8" fmla="*/ 3218570 w 4196302"/>
              <a:gd name="connsiteY8" fmla="*/ 2359491 h 4909417"/>
              <a:gd name="connsiteX9" fmla="*/ 3197109 w 4196302"/>
              <a:gd name="connsiteY9" fmla="*/ 2433657 h 4909417"/>
              <a:gd name="connsiteX10" fmla="*/ 3187203 w 4196302"/>
              <a:gd name="connsiteY10" fmla="*/ 2471755 h 4909417"/>
              <a:gd name="connsiteX11" fmla="*/ 3169170 w 4196302"/>
              <a:gd name="connsiteY11" fmla="*/ 2548587 h 4909417"/>
              <a:gd name="connsiteX12" fmla="*/ 3168408 w 4196302"/>
              <a:gd name="connsiteY12" fmla="*/ 2552141 h 4909417"/>
              <a:gd name="connsiteX13" fmla="*/ 3160787 w 4196302"/>
              <a:gd name="connsiteY13" fmla="*/ 2588716 h 4909417"/>
              <a:gd name="connsiteX14" fmla="*/ 3153928 w 4196302"/>
              <a:gd name="connsiteY14" fmla="*/ 2624149 h 4909417"/>
              <a:gd name="connsiteX15" fmla="*/ 3145930 w 4196302"/>
              <a:gd name="connsiteY15" fmla="*/ 2669486 h 4909417"/>
              <a:gd name="connsiteX16" fmla="*/ 3140470 w 4196302"/>
              <a:gd name="connsiteY16" fmla="*/ 2703139 h 4909417"/>
              <a:gd name="connsiteX17" fmla="*/ 3137546 w 4196302"/>
              <a:gd name="connsiteY17" fmla="*/ 2722442 h 4909417"/>
              <a:gd name="connsiteX18" fmla="*/ 3133230 w 4196302"/>
              <a:gd name="connsiteY18" fmla="*/ 2752413 h 4909417"/>
              <a:gd name="connsiteX19" fmla="*/ 3127771 w 4196302"/>
              <a:gd name="connsiteY19" fmla="*/ 2794702 h 4909417"/>
              <a:gd name="connsiteX20" fmla="*/ 3122816 w 4196302"/>
              <a:gd name="connsiteY20" fmla="*/ 2837499 h 4909417"/>
              <a:gd name="connsiteX21" fmla="*/ 3118496 w 4196302"/>
              <a:gd name="connsiteY21" fmla="*/ 2880931 h 4909417"/>
              <a:gd name="connsiteX22" fmla="*/ 3114690 w 4196302"/>
              <a:gd name="connsiteY22" fmla="*/ 2924744 h 4909417"/>
              <a:gd name="connsiteX23" fmla="*/ 3111514 w 4196302"/>
              <a:gd name="connsiteY23" fmla="*/ 2969193 h 4909417"/>
              <a:gd name="connsiteX24" fmla="*/ 3111514 w 4196302"/>
              <a:gd name="connsiteY24" fmla="*/ 2970336 h 4909417"/>
              <a:gd name="connsiteX25" fmla="*/ 3109099 w 4196302"/>
              <a:gd name="connsiteY25" fmla="*/ 3011227 h 4909417"/>
              <a:gd name="connsiteX26" fmla="*/ 3109099 w 4196302"/>
              <a:gd name="connsiteY26" fmla="*/ 3017959 h 4909417"/>
              <a:gd name="connsiteX27" fmla="*/ 3107450 w 4196302"/>
              <a:gd name="connsiteY27" fmla="*/ 3054660 h 4909417"/>
              <a:gd name="connsiteX28" fmla="*/ 3105925 w 4196302"/>
              <a:gd name="connsiteY28" fmla="*/ 3099870 h 4909417"/>
              <a:gd name="connsiteX29" fmla="*/ 3105165 w 4196302"/>
              <a:gd name="connsiteY29" fmla="*/ 3132889 h 4909417"/>
              <a:gd name="connsiteX30" fmla="*/ 3105165 w 4196302"/>
              <a:gd name="connsiteY30" fmla="*/ 3160701 h 4909417"/>
              <a:gd name="connsiteX31" fmla="*/ 3105165 w 4196302"/>
              <a:gd name="connsiteY31" fmla="*/ 3199814 h 4909417"/>
              <a:gd name="connsiteX32" fmla="*/ 3105165 w 4196302"/>
              <a:gd name="connsiteY32" fmla="*/ 4728196 h 4909417"/>
              <a:gd name="connsiteX33" fmla="*/ 2090603 w 4196302"/>
              <a:gd name="connsiteY33" fmla="*/ 4909417 h 4909417"/>
              <a:gd name="connsiteX34" fmla="*/ 6673 w 4196302"/>
              <a:gd name="connsiteY34" fmla="*/ 3050607 h 4909417"/>
              <a:gd name="connsiteX35" fmla="*/ 0 w 4196302"/>
              <a:gd name="connsiteY35" fmla="*/ 2866178 h 49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96302" h="4909417">
                <a:moveTo>
                  <a:pt x="0" y="0"/>
                </a:moveTo>
                <a:lnTo>
                  <a:pt x="4196302" y="0"/>
                </a:lnTo>
                <a:lnTo>
                  <a:pt x="4196302" y="1262130"/>
                </a:lnTo>
                <a:cubicBezTo>
                  <a:pt x="3786744" y="1433573"/>
                  <a:pt x="3478273" y="1728201"/>
                  <a:pt x="3295530" y="2151093"/>
                </a:cubicBezTo>
                <a:cubicBezTo>
                  <a:pt x="3282831" y="2180302"/>
                  <a:pt x="3270890" y="2210145"/>
                  <a:pt x="3259462" y="2239989"/>
                </a:cubicBezTo>
                <a:cubicBezTo>
                  <a:pt x="3253748" y="2255229"/>
                  <a:pt x="3248288" y="2270595"/>
                  <a:pt x="3242825" y="2286089"/>
                </a:cubicBezTo>
                <a:cubicBezTo>
                  <a:pt x="3242953" y="2286507"/>
                  <a:pt x="3242953" y="2286939"/>
                  <a:pt x="3242825" y="2287358"/>
                </a:cubicBezTo>
                <a:cubicBezTo>
                  <a:pt x="3238637" y="2299169"/>
                  <a:pt x="3234572" y="2311106"/>
                  <a:pt x="3230125" y="2323171"/>
                </a:cubicBezTo>
                <a:cubicBezTo>
                  <a:pt x="3225683" y="2335236"/>
                  <a:pt x="3222253" y="2347301"/>
                  <a:pt x="3218570" y="2359491"/>
                </a:cubicBezTo>
                <a:cubicBezTo>
                  <a:pt x="3210950" y="2383874"/>
                  <a:pt x="3203839" y="2408599"/>
                  <a:pt x="3197109" y="2433657"/>
                </a:cubicBezTo>
                <a:lnTo>
                  <a:pt x="3187203" y="2471755"/>
                </a:lnTo>
                <a:cubicBezTo>
                  <a:pt x="3180726" y="2497154"/>
                  <a:pt x="3174503" y="2522553"/>
                  <a:pt x="3169170" y="2548587"/>
                </a:cubicBezTo>
                <a:lnTo>
                  <a:pt x="3168408" y="2552141"/>
                </a:lnTo>
                <a:cubicBezTo>
                  <a:pt x="3165741" y="2564334"/>
                  <a:pt x="3163199" y="2576526"/>
                  <a:pt x="3160787" y="2588716"/>
                </a:cubicBezTo>
                <a:cubicBezTo>
                  <a:pt x="3158375" y="2600909"/>
                  <a:pt x="3156090" y="2612719"/>
                  <a:pt x="3153928" y="2624149"/>
                </a:cubicBezTo>
                <a:cubicBezTo>
                  <a:pt x="3151135" y="2639134"/>
                  <a:pt x="3148468" y="2654246"/>
                  <a:pt x="3145930" y="2669486"/>
                </a:cubicBezTo>
                <a:cubicBezTo>
                  <a:pt x="3144023" y="2680661"/>
                  <a:pt x="3142119" y="2691835"/>
                  <a:pt x="3140470" y="2703139"/>
                </a:cubicBezTo>
                <a:cubicBezTo>
                  <a:pt x="3139453" y="2709616"/>
                  <a:pt x="3138436" y="2715838"/>
                  <a:pt x="3137546" y="2722442"/>
                </a:cubicBezTo>
                <a:cubicBezTo>
                  <a:pt x="3136024" y="2732347"/>
                  <a:pt x="3134625" y="2742380"/>
                  <a:pt x="3133230" y="2752413"/>
                </a:cubicBezTo>
                <a:cubicBezTo>
                  <a:pt x="3131324" y="2766383"/>
                  <a:pt x="3129420" y="2780478"/>
                  <a:pt x="3127771" y="2794702"/>
                </a:cubicBezTo>
                <a:cubicBezTo>
                  <a:pt x="3126117" y="2808925"/>
                  <a:pt x="3124342" y="2823149"/>
                  <a:pt x="3122816" y="2837499"/>
                </a:cubicBezTo>
                <a:cubicBezTo>
                  <a:pt x="3121294" y="2851850"/>
                  <a:pt x="3119768" y="2866327"/>
                  <a:pt x="3118496" y="2880931"/>
                </a:cubicBezTo>
                <a:cubicBezTo>
                  <a:pt x="3117228" y="2895536"/>
                  <a:pt x="3115830" y="2910013"/>
                  <a:pt x="3114690" y="2924744"/>
                </a:cubicBezTo>
                <a:cubicBezTo>
                  <a:pt x="3113546" y="2939476"/>
                  <a:pt x="3112401" y="2954335"/>
                  <a:pt x="3111514" y="2969193"/>
                </a:cubicBezTo>
                <a:cubicBezTo>
                  <a:pt x="3111514" y="2969574"/>
                  <a:pt x="3111514" y="2969954"/>
                  <a:pt x="3111514" y="2970336"/>
                </a:cubicBezTo>
                <a:cubicBezTo>
                  <a:pt x="3110625" y="2983923"/>
                  <a:pt x="3109862" y="2997512"/>
                  <a:pt x="3109099" y="3011227"/>
                </a:cubicBezTo>
                <a:cubicBezTo>
                  <a:pt x="3109099" y="3013514"/>
                  <a:pt x="3109099" y="3015672"/>
                  <a:pt x="3109099" y="3017959"/>
                </a:cubicBezTo>
                <a:cubicBezTo>
                  <a:pt x="3109099" y="3030658"/>
                  <a:pt x="3107832" y="3042342"/>
                  <a:pt x="3107450" y="3054660"/>
                </a:cubicBezTo>
                <a:cubicBezTo>
                  <a:pt x="3106814" y="3069645"/>
                  <a:pt x="3106306" y="3084758"/>
                  <a:pt x="3105925" y="3099870"/>
                </a:cubicBezTo>
                <a:cubicBezTo>
                  <a:pt x="3105925" y="3110792"/>
                  <a:pt x="3105925" y="3121840"/>
                  <a:pt x="3105165" y="3132889"/>
                </a:cubicBezTo>
                <a:cubicBezTo>
                  <a:pt x="3104402" y="3143938"/>
                  <a:pt x="3105165" y="3151429"/>
                  <a:pt x="3105165" y="3160701"/>
                </a:cubicBezTo>
                <a:cubicBezTo>
                  <a:pt x="3105165" y="3173400"/>
                  <a:pt x="3105165" y="3186735"/>
                  <a:pt x="3105165" y="3199814"/>
                </a:cubicBezTo>
                <a:lnTo>
                  <a:pt x="3105165" y="4728196"/>
                </a:lnTo>
                <a:cubicBezTo>
                  <a:pt x="2814981" y="4849730"/>
                  <a:pt x="2473874" y="4909417"/>
                  <a:pt x="2090603" y="4909417"/>
                </a:cubicBezTo>
                <a:cubicBezTo>
                  <a:pt x="890622" y="4909417"/>
                  <a:pt x="100723" y="4311823"/>
                  <a:pt x="6673" y="3050607"/>
                </a:cubicBezTo>
                <a:lnTo>
                  <a:pt x="0" y="2866178"/>
                </a:ln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59A2ADD1-B595-4415-AEF4-B06F3B989E51}"/>
              </a:ext>
            </a:extLst>
          </p:cNvPr>
          <p:cNvSpPr>
            <a:spLocks noGrp="1"/>
          </p:cNvSpPr>
          <p:nvPr>
            <p:ph type="title" hasCustomPrompt="1"/>
          </p:nvPr>
        </p:nvSpPr>
        <p:spPr bwMode="gray">
          <a:xfrm>
            <a:off x="492387" y="496088"/>
            <a:ext cx="3367193" cy="628128"/>
          </a:xfrm>
        </p:spPr>
        <p:txBody>
          <a:bodyPr vert="horz"/>
          <a:lstStyle>
            <a:lvl1pPr rtl="0">
              <a:defRPr/>
            </a:lvl1pPr>
          </a:lstStyle>
          <a:p>
            <a:r>
              <a:rPr lang="en-US"/>
              <a:t>Headline, Poppins Regular</a:t>
            </a:r>
            <a:br>
              <a:rPr lang="en-US"/>
            </a:br>
            <a:r>
              <a:rPr lang="en-US"/>
              <a:t>Subheading, Poppins Light</a:t>
            </a:r>
          </a:p>
        </p:txBody>
      </p:sp>
      <p:sp>
        <p:nvSpPr>
          <p:cNvPr id="3" name="Footer Placeholder 2">
            <a:extLst>
              <a:ext uri="{FF2B5EF4-FFF2-40B4-BE49-F238E27FC236}">
                <a16:creationId xmlns:a16="http://schemas.microsoft.com/office/drawing/2014/main" id="{1BA3665A-CCF4-4CC7-9F78-87639570646E}"/>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E8B2412B-A5D0-4F41-9508-3641314E503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95EB9343-0E53-408F-91BE-7EAA7EF940EB}"/>
              </a:ext>
            </a:extLst>
          </p:cNvPr>
          <p:cNvSpPr>
            <a:spLocks noGrp="1"/>
          </p:cNvSpPr>
          <p:nvPr>
            <p:ph type="body" sz="quarter" idx="12"/>
          </p:nvPr>
        </p:nvSpPr>
        <p:spPr bwMode="gray">
          <a:xfrm>
            <a:off x="492387" y="1666345"/>
            <a:ext cx="2581409" cy="4121342"/>
          </a:xfrm>
        </p:spPr>
        <p:txBody>
          <a:bodyPr/>
          <a:lstStyle>
            <a:lvl1pPr rtl="0">
              <a:defRPr/>
            </a:lvl1pPr>
            <a:lvl2pPr rtl="0">
              <a:spcBef>
                <a:spcPts val="684"/>
              </a:spcBef>
              <a:defRPr/>
            </a:lvl2pPr>
            <a:lvl3pPr rtl="0">
              <a:spcBef>
                <a:spcPts val="684"/>
              </a:spcBef>
              <a:defRPr/>
            </a:lvl3pPr>
            <a:lvl4pPr rtl="0">
              <a:spcBef>
                <a:spcPts val="684"/>
              </a:spcBef>
              <a:defRPr/>
            </a:lvl4pPr>
            <a:lvl5pPr rtl="0">
              <a:spcBef>
                <a:spcPts val="6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Graphic 10">
            <a:extLst>
              <a:ext uri="{FF2B5EF4-FFF2-40B4-BE49-F238E27FC236}">
                <a16:creationId xmlns:a16="http://schemas.microsoft.com/office/drawing/2014/main" id="{0E150405-1EA0-472E-9E5D-2235E50DE009}"/>
              </a:ext>
            </a:extLst>
          </p:cNvPr>
          <p:cNvSpPr/>
          <p:nvPr/>
        </p:nvSpPr>
        <p:spPr bwMode="gray">
          <a:xfrm>
            <a:off x="7405771" y="1445971"/>
            <a:ext cx="1242065" cy="3966787"/>
          </a:xfrm>
          <a:custGeom>
            <a:avLst/>
            <a:gdLst>
              <a:gd name="connsiteX0" fmla="*/ 814878 w 816959"/>
              <a:gd name="connsiteY0" fmla="*/ -338 h 2599182"/>
              <a:gd name="connsiteX1" fmla="*/ 814878 w 816959"/>
              <a:gd name="connsiteY1" fmla="*/ 1144757 h 2599182"/>
              <a:gd name="connsiteX2" fmla="*/ 814878 w 816959"/>
              <a:gd name="connsiteY2" fmla="*/ 1174094 h 2599182"/>
              <a:gd name="connsiteX3" fmla="*/ 814878 w 816959"/>
              <a:gd name="connsiteY3" fmla="*/ 1194954 h 2599182"/>
              <a:gd name="connsiteX4" fmla="*/ 814306 w 816959"/>
              <a:gd name="connsiteY4" fmla="*/ 1219719 h 2599182"/>
              <a:gd name="connsiteX5" fmla="*/ 813164 w 816959"/>
              <a:gd name="connsiteY5" fmla="*/ 1252961 h 2599182"/>
              <a:gd name="connsiteX6" fmla="*/ 811925 w 816959"/>
              <a:gd name="connsiteY6" fmla="*/ 1281536 h 2599182"/>
              <a:gd name="connsiteX7" fmla="*/ 811925 w 816959"/>
              <a:gd name="connsiteY7" fmla="*/ 1286013 h 2599182"/>
              <a:gd name="connsiteX8" fmla="*/ 810116 w 816959"/>
              <a:gd name="connsiteY8" fmla="*/ 1316874 h 2599182"/>
              <a:gd name="connsiteX9" fmla="*/ 810116 w 816959"/>
              <a:gd name="connsiteY9" fmla="*/ 1317731 h 2599182"/>
              <a:gd name="connsiteX10" fmla="*/ 807734 w 816959"/>
              <a:gd name="connsiteY10" fmla="*/ 1351069 h 2599182"/>
              <a:gd name="connsiteX11" fmla="*/ 804876 w 816959"/>
              <a:gd name="connsiteY11" fmla="*/ 1384025 h 2599182"/>
              <a:gd name="connsiteX12" fmla="*/ 801639 w 816959"/>
              <a:gd name="connsiteY12" fmla="*/ 1416505 h 2599182"/>
              <a:gd name="connsiteX13" fmla="*/ 797923 w 816959"/>
              <a:gd name="connsiteY13" fmla="*/ 1448605 h 2599182"/>
              <a:gd name="connsiteX14" fmla="*/ 790875 w 816959"/>
              <a:gd name="connsiteY14" fmla="*/ 1501087 h 2599182"/>
              <a:gd name="connsiteX15" fmla="*/ 790875 w 816959"/>
              <a:gd name="connsiteY15" fmla="*/ 1502802 h 2599182"/>
              <a:gd name="connsiteX16" fmla="*/ 788494 w 816959"/>
              <a:gd name="connsiteY16" fmla="*/ 1518994 h 2599182"/>
              <a:gd name="connsiteX17" fmla="*/ 778969 w 816959"/>
              <a:gd name="connsiteY17" fmla="*/ 1575002 h 2599182"/>
              <a:gd name="connsiteX18" fmla="*/ 773539 w 816959"/>
              <a:gd name="connsiteY18" fmla="*/ 1603577 h 2599182"/>
              <a:gd name="connsiteX19" fmla="*/ 767825 w 816959"/>
              <a:gd name="connsiteY19" fmla="*/ 1631103 h 2599182"/>
              <a:gd name="connsiteX20" fmla="*/ 767825 w 816959"/>
              <a:gd name="connsiteY20" fmla="*/ 1633199 h 2599182"/>
              <a:gd name="connsiteX21" fmla="*/ 761442 w 816959"/>
              <a:gd name="connsiteY21" fmla="*/ 1661774 h 2599182"/>
              <a:gd name="connsiteX22" fmla="*/ 761442 w 816959"/>
              <a:gd name="connsiteY22" fmla="*/ 1663489 h 2599182"/>
              <a:gd name="connsiteX23" fmla="*/ 754584 w 816959"/>
              <a:gd name="connsiteY23" fmla="*/ 1691397 h 2599182"/>
              <a:gd name="connsiteX24" fmla="*/ 754584 w 816959"/>
              <a:gd name="connsiteY24" fmla="*/ 1693016 h 2599182"/>
              <a:gd name="connsiteX25" fmla="*/ 747536 w 816959"/>
              <a:gd name="connsiteY25" fmla="*/ 1719781 h 2599182"/>
              <a:gd name="connsiteX26" fmla="*/ 731439 w 816959"/>
              <a:gd name="connsiteY26" fmla="*/ 1775503 h 2599182"/>
              <a:gd name="connsiteX27" fmla="*/ 722772 w 816959"/>
              <a:gd name="connsiteY27" fmla="*/ 1802744 h 2599182"/>
              <a:gd name="connsiteX28" fmla="*/ 713247 w 816959"/>
              <a:gd name="connsiteY28" fmla="*/ 1829605 h 2599182"/>
              <a:gd name="connsiteX29" fmla="*/ 713247 w 816959"/>
              <a:gd name="connsiteY29" fmla="*/ 1830557 h 2599182"/>
              <a:gd name="connsiteX30" fmla="*/ 703722 w 816959"/>
              <a:gd name="connsiteY30" fmla="*/ 1855989 h 2599182"/>
              <a:gd name="connsiteX31" fmla="*/ 677719 w 816959"/>
              <a:gd name="connsiteY31" fmla="*/ 1921902 h 2599182"/>
              <a:gd name="connsiteX32" fmla="*/ 664669 w 816959"/>
              <a:gd name="connsiteY32" fmla="*/ 1951906 h 2599182"/>
              <a:gd name="connsiteX33" fmla="*/ -2081 w 816959"/>
              <a:gd name="connsiteY33" fmla="*/ 2598844 h 2599182"/>
              <a:gd name="connsiteX34" fmla="*/ -2081 w 816959"/>
              <a:gd name="connsiteY34" fmla="*/ 1453272 h 2599182"/>
              <a:gd name="connsiteX35" fmla="*/ -2081 w 816959"/>
              <a:gd name="connsiteY35" fmla="*/ 1423935 h 2599182"/>
              <a:gd name="connsiteX36" fmla="*/ -2081 w 816959"/>
              <a:gd name="connsiteY36" fmla="*/ 1403075 h 2599182"/>
              <a:gd name="connsiteX37" fmla="*/ -1509 w 816959"/>
              <a:gd name="connsiteY37" fmla="*/ 1378310 h 2599182"/>
              <a:gd name="connsiteX38" fmla="*/ -367 w 816959"/>
              <a:gd name="connsiteY38" fmla="*/ 1344401 h 2599182"/>
              <a:gd name="connsiteX39" fmla="*/ 872 w 816959"/>
              <a:gd name="connsiteY39" fmla="*/ 1316874 h 2599182"/>
              <a:gd name="connsiteX40" fmla="*/ 872 w 816959"/>
              <a:gd name="connsiteY40" fmla="*/ 1311826 h 2599182"/>
              <a:gd name="connsiteX41" fmla="*/ 2681 w 816959"/>
              <a:gd name="connsiteY41" fmla="*/ 1281155 h 2599182"/>
              <a:gd name="connsiteX42" fmla="*/ 2681 w 816959"/>
              <a:gd name="connsiteY42" fmla="*/ 1280298 h 2599182"/>
              <a:gd name="connsiteX43" fmla="*/ 5062 w 816959"/>
              <a:gd name="connsiteY43" fmla="*/ 1246961 h 2599182"/>
              <a:gd name="connsiteX44" fmla="*/ 7920 w 816959"/>
              <a:gd name="connsiteY44" fmla="*/ 1214099 h 2599182"/>
              <a:gd name="connsiteX45" fmla="*/ 11160 w 816959"/>
              <a:gd name="connsiteY45" fmla="*/ 1181524 h 2599182"/>
              <a:gd name="connsiteX46" fmla="*/ 14873 w 816959"/>
              <a:gd name="connsiteY46" fmla="*/ 1149425 h 2599182"/>
              <a:gd name="connsiteX47" fmla="*/ 18969 w 816959"/>
              <a:gd name="connsiteY47" fmla="*/ 1117706 h 2599182"/>
              <a:gd name="connsiteX48" fmla="*/ 22208 w 816959"/>
              <a:gd name="connsiteY48" fmla="*/ 1095227 h 2599182"/>
              <a:gd name="connsiteX49" fmla="*/ 24398 w 816959"/>
              <a:gd name="connsiteY49" fmla="*/ 1080749 h 2599182"/>
              <a:gd name="connsiteX50" fmla="*/ 28494 w 816959"/>
              <a:gd name="connsiteY50" fmla="*/ 1055508 h 2599182"/>
              <a:gd name="connsiteX51" fmla="*/ 34496 w 816959"/>
              <a:gd name="connsiteY51" fmla="*/ 1021503 h 2599182"/>
              <a:gd name="connsiteX52" fmla="*/ 39639 w 816959"/>
              <a:gd name="connsiteY52" fmla="*/ 994929 h 2599182"/>
              <a:gd name="connsiteX53" fmla="*/ 45353 w 816959"/>
              <a:gd name="connsiteY53" fmla="*/ 967497 h 2599182"/>
              <a:gd name="connsiteX54" fmla="*/ 45925 w 816959"/>
              <a:gd name="connsiteY54" fmla="*/ 964830 h 2599182"/>
              <a:gd name="connsiteX55" fmla="*/ 59450 w 816959"/>
              <a:gd name="connsiteY55" fmla="*/ 907203 h 2599182"/>
              <a:gd name="connsiteX56" fmla="*/ 66880 w 816959"/>
              <a:gd name="connsiteY56" fmla="*/ 878628 h 2599182"/>
              <a:gd name="connsiteX57" fmla="*/ 82976 w 816959"/>
              <a:gd name="connsiteY57" fmla="*/ 823003 h 2599182"/>
              <a:gd name="connsiteX58" fmla="*/ 91646 w 816959"/>
              <a:gd name="connsiteY58" fmla="*/ 795761 h 2599182"/>
              <a:gd name="connsiteX59" fmla="*/ 101171 w 816959"/>
              <a:gd name="connsiteY59" fmla="*/ 768901 h 2599182"/>
              <a:gd name="connsiteX60" fmla="*/ 101171 w 816959"/>
              <a:gd name="connsiteY60" fmla="*/ 767948 h 2599182"/>
              <a:gd name="connsiteX61" fmla="*/ 113647 w 816959"/>
              <a:gd name="connsiteY61" fmla="*/ 733372 h 2599182"/>
              <a:gd name="connsiteX62" fmla="*/ 140698 w 816959"/>
              <a:gd name="connsiteY62" fmla="*/ 666697 h 2599182"/>
              <a:gd name="connsiteX63" fmla="*/ 140698 w 816959"/>
              <a:gd name="connsiteY63" fmla="*/ 666697 h 2599182"/>
              <a:gd name="connsiteX64" fmla="*/ 153844 w 816959"/>
              <a:gd name="connsiteY64" fmla="*/ 637170 h 2599182"/>
              <a:gd name="connsiteX65" fmla="*/ 181752 w 816959"/>
              <a:gd name="connsiteY65" fmla="*/ 580020 h 2599182"/>
              <a:gd name="connsiteX66" fmla="*/ 196516 w 816959"/>
              <a:gd name="connsiteY66" fmla="*/ 552112 h 2599182"/>
              <a:gd name="connsiteX67" fmla="*/ 814878 w 816959"/>
              <a:gd name="connsiteY67" fmla="*/ -338 h 259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816959" h="2599182">
                <a:moveTo>
                  <a:pt x="814878" y="-338"/>
                </a:moveTo>
                <a:lnTo>
                  <a:pt x="814878" y="1144757"/>
                </a:lnTo>
                <a:cubicBezTo>
                  <a:pt x="814878" y="1154282"/>
                  <a:pt x="814878" y="1164378"/>
                  <a:pt x="814878" y="1174094"/>
                </a:cubicBezTo>
                <a:cubicBezTo>
                  <a:pt x="814878" y="1181076"/>
                  <a:pt x="814878" y="1188029"/>
                  <a:pt x="814878" y="1194954"/>
                </a:cubicBezTo>
                <a:cubicBezTo>
                  <a:pt x="814878" y="1203241"/>
                  <a:pt x="814878" y="1211527"/>
                  <a:pt x="814306" y="1219719"/>
                </a:cubicBezTo>
                <a:cubicBezTo>
                  <a:pt x="814306" y="1230863"/>
                  <a:pt x="813641" y="1241912"/>
                  <a:pt x="813164" y="1252961"/>
                </a:cubicBezTo>
                <a:cubicBezTo>
                  <a:pt x="813164" y="1262486"/>
                  <a:pt x="812402" y="1272011"/>
                  <a:pt x="811925" y="1281536"/>
                </a:cubicBezTo>
                <a:cubicBezTo>
                  <a:pt x="811925" y="1283060"/>
                  <a:pt x="811925" y="1284584"/>
                  <a:pt x="811925" y="1286013"/>
                </a:cubicBezTo>
                <a:cubicBezTo>
                  <a:pt x="811353" y="1296395"/>
                  <a:pt x="810783" y="1306587"/>
                  <a:pt x="810116" y="1316874"/>
                </a:cubicBezTo>
                <a:cubicBezTo>
                  <a:pt x="810116" y="1317160"/>
                  <a:pt x="810116" y="1317445"/>
                  <a:pt x="810116" y="1317731"/>
                </a:cubicBezTo>
                <a:cubicBezTo>
                  <a:pt x="809448" y="1328875"/>
                  <a:pt x="808593" y="1340019"/>
                  <a:pt x="807734" y="1351069"/>
                </a:cubicBezTo>
                <a:cubicBezTo>
                  <a:pt x="806876" y="1362117"/>
                  <a:pt x="805925" y="1373071"/>
                  <a:pt x="804876" y="1384025"/>
                </a:cubicBezTo>
                <a:cubicBezTo>
                  <a:pt x="803830" y="1394979"/>
                  <a:pt x="802781" y="1405742"/>
                  <a:pt x="801639" y="1416505"/>
                </a:cubicBezTo>
                <a:cubicBezTo>
                  <a:pt x="800495" y="1427269"/>
                  <a:pt x="799258" y="1438032"/>
                  <a:pt x="797923" y="1448605"/>
                </a:cubicBezTo>
                <a:cubicBezTo>
                  <a:pt x="795828" y="1466321"/>
                  <a:pt x="793447" y="1483819"/>
                  <a:pt x="790875" y="1501087"/>
                </a:cubicBezTo>
                <a:lnTo>
                  <a:pt x="790875" y="1502802"/>
                </a:lnTo>
                <a:cubicBezTo>
                  <a:pt x="790112" y="1508231"/>
                  <a:pt x="789256" y="1513661"/>
                  <a:pt x="788494" y="1518994"/>
                </a:cubicBezTo>
                <a:cubicBezTo>
                  <a:pt x="785540" y="1538044"/>
                  <a:pt x="782303" y="1556713"/>
                  <a:pt x="778969" y="1575002"/>
                </a:cubicBezTo>
                <a:cubicBezTo>
                  <a:pt x="777255" y="1584527"/>
                  <a:pt x="775446" y="1594052"/>
                  <a:pt x="773539" y="1603577"/>
                </a:cubicBezTo>
                <a:cubicBezTo>
                  <a:pt x="771634" y="1613102"/>
                  <a:pt x="769825" y="1621960"/>
                  <a:pt x="767825" y="1631103"/>
                </a:cubicBezTo>
                <a:cubicBezTo>
                  <a:pt x="767825" y="1631770"/>
                  <a:pt x="767825" y="1632532"/>
                  <a:pt x="767825" y="1633199"/>
                </a:cubicBezTo>
                <a:cubicBezTo>
                  <a:pt x="765730" y="1642724"/>
                  <a:pt x="763635" y="1652249"/>
                  <a:pt x="761442" y="1661774"/>
                </a:cubicBezTo>
                <a:cubicBezTo>
                  <a:pt x="761442" y="1662346"/>
                  <a:pt x="761442" y="1662917"/>
                  <a:pt x="761442" y="1663489"/>
                </a:cubicBezTo>
                <a:lnTo>
                  <a:pt x="754584" y="1691397"/>
                </a:lnTo>
                <a:cubicBezTo>
                  <a:pt x="754489" y="1691940"/>
                  <a:pt x="754489" y="1692473"/>
                  <a:pt x="754584" y="1693016"/>
                </a:cubicBezTo>
                <a:cubicBezTo>
                  <a:pt x="752298" y="1701969"/>
                  <a:pt x="749917" y="1710923"/>
                  <a:pt x="747536" y="1719781"/>
                </a:cubicBezTo>
                <a:cubicBezTo>
                  <a:pt x="742392" y="1738831"/>
                  <a:pt x="737060" y="1757405"/>
                  <a:pt x="731439" y="1775503"/>
                </a:cubicBezTo>
                <a:cubicBezTo>
                  <a:pt x="728581" y="1785028"/>
                  <a:pt x="725723" y="1793695"/>
                  <a:pt x="722772" y="1802744"/>
                </a:cubicBezTo>
                <a:cubicBezTo>
                  <a:pt x="719819" y="1811793"/>
                  <a:pt x="716770" y="1820651"/>
                  <a:pt x="713247" y="1829605"/>
                </a:cubicBezTo>
                <a:lnTo>
                  <a:pt x="713247" y="1830557"/>
                </a:lnTo>
                <a:lnTo>
                  <a:pt x="703722" y="1855989"/>
                </a:lnTo>
                <a:cubicBezTo>
                  <a:pt x="695434" y="1878401"/>
                  <a:pt x="686767" y="1900375"/>
                  <a:pt x="677719" y="1921902"/>
                </a:cubicBezTo>
                <a:cubicBezTo>
                  <a:pt x="673431" y="1931998"/>
                  <a:pt x="669050" y="1941999"/>
                  <a:pt x="664669" y="1951906"/>
                </a:cubicBezTo>
                <a:cubicBezTo>
                  <a:pt x="526461" y="2258706"/>
                  <a:pt x="298433" y="2473018"/>
                  <a:pt x="-2081" y="2598844"/>
                </a:cubicBezTo>
                <a:lnTo>
                  <a:pt x="-2081" y="1453272"/>
                </a:lnTo>
                <a:cubicBezTo>
                  <a:pt x="-2081" y="1443747"/>
                  <a:pt x="-2081" y="1433650"/>
                  <a:pt x="-2081" y="1423935"/>
                </a:cubicBezTo>
                <a:cubicBezTo>
                  <a:pt x="-2081" y="1416953"/>
                  <a:pt x="-2081" y="1410000"/>
                  <a:pt x="-2081" y="1403075"/>
                </a:cubicBezTo>
                <a:cubicBezTo>
                  <a:pt x="-2081" y="1394788"/>
                  <a:pt x="-2081" y="1386501"/>
                  <a:pt x="-1509" y="1378310"/>
                </a:cubicBezTo>
                <a:cubicBezTo>
                  <a:pt x="-1509" y="1366975"/>
                  <a:pt x="-842" y="1355641"/>
                  <a:pt x="-367" y="1344401"/>
                </a:cubicBezTo>
                <a:cubicBezTo>
                  <a:pt x="-367" y="1334876"/>
                  <a:pt x="395" y="1326018"/>
                  <a:pt x="872" y="1316874"/>
                </a:cubicBezTo>
                <a:cubicBezTo>
                  <a:pt x="872" y="1315159"/>
                  <a:pt x="872" y="1313540"/>
                  <a:pt x="872" y="1311826"/>
                </a:cubicBezTo>
                <a:cubicBezTo>
                  <a:pt x="1444" y="1301539"/>
                  <a:pt x="2014" y="1291347"/>
                  <a:pt x="2681" y="1281155"/>
                </a:cubicBezTo>
                <a:cubicBezTo>
                  <a:pt x="2681" y="1280869"/>
                  <a:pt x="2681" y="1280583"/>
                  <a:pt x="2681" y="1280298"/>
                </a:cubicBezTo>
                <a:cubicBezTo>
                  <a:pt x="3349" y="1269153"/>
                  <a:pt x="4204" y="1258009"/>
                  <a:pt x="5062" y="1246961"/>
                </a:cubicBezTo>
                <a:cubicBezTo>
                  <a:pt x="5921" y="1235911"/>
                  <a:pt x="6872" y="1224958"/>
                  <a:pt x="7920" y="1214099"/>
                </a:cubicBezTo>
                <a:cubicBezTo>
                  <a:pt x="8967" y="1203241"/>
                  <a:pt x="10016" y="1192287"/>
                  <a:pt x="11160" y="1181524"/>
                </a:cubicBezTo>
                <a:cubicBezTo>
                  <a:pt x="12302" y="1170761"/>
                  <a:pt x="13541" y="1160093"/>
                  <a:pt x="14873" y="1149425"/>
                </a:cubicBezTo>
                <a:cubicBezTo>
                  <a:pt x="16206" y="1138756"/>
                  <a:pt x="17541" y="1128183"/>
                  <a:pt x="18969" y="1117706"/>
                </a:cubicBezTo>
                <a:cubicBezTo>
                  <a:pt x="20017" y="1110181"/>
                  <a:pt x="21064" y="1102657"/>
                  <a:pt x="22208" y="1095227"/>
                </a:cubicBezTo>
                <a:cubicBezTo>
                  <a:pt x="22875" y="1090369"/>
                  <a:pt x="23636" y="1085702"/>
                  <a:pt x="24398" y="1080749"/>
                </a:cubicBezTo>
                <a:cubicBezTo>
                  <a:pt x="25636" y="1072272"/>
                  <a:pt x="27066" y="1063890"/>
                  <a:pt x="28494" y="1055508"/>
                </a:cubicBezTo>
                <a:cubicBezTo>
                  <a:pt x="30398" y="1044078"/>
                  <a:pt x="32400" y="1032743"/>
                  <a:pt x="34496" y="1021503"/>
                </a:cubicBezTo>
                <a:cubicBezTo>
                  <a:pt x="36114" y="1012674"/>
                  <a:pt x="37828" y="1003815"/>
                  <a:pt x="39639" y="994929"/>
                </a:cubicBezTo>
                <a:cubicBezTo>
                  <a:pt x="41449" y="986042"/>
                  <a:pt x="43353" y="976898"/>
                  <a:pt x="45353" y="967497"/>
                </a:cubicBezTo>
                <a:lnTo>
                  <a:pt x="45925" y="964830"/>
                </a:lnTo>
                <a:cubicBezTo>
                  <a:pt x="50211" y="945399"/>
                  <a:pt x="54687" y="926187"/>
                  <a:pt x="59450" y="907203"/>
                </a:cubicBezTo>
                <a:lnTo>
                  <a:pt x="66880" y="878628"/>
                </a:lnTo>
                <a:cubicBezTo>
                  <a:pt x="72023" y="859578"/>
                  <a:pt x="77358" y="841034"/>
                  <a:pt x="82976" y="823003"/>
                </a:cubicBezTo>
                <a:cubicBezTo>
                  <a:pt x="85834" y="813478"/>
                  <a:pt x="88692" y="804715"/>
                  <a:pt x="91646" y="795761"/>
                </a:cubicBezTo>
                <a:cubicBezTo>
                  <a:pt x="94597" y="786808"/>
                  <a:pt x="97645" y="777759"/>
                  <a:pt x="101171" y="768901"/>
                </a:cubicBezTo>
                <a:cubicBezTo>
                  <a:pt x="101266" y="768586"/>
                  <a:pt x="101266" y="768262"/>
                  <a:pt x="101171" y="767948"/>
                </a:cubicBezTo>
                <a:cubicBezTo>
                  <a:pt x="105266" y="756328"/>
                  <a:pt x="109361" y="744802"/>
                  <a:pt x="113647" y="733372"/>
                </a:cubicBezTo>
                <a:cubicBezTo>
                  <a:pt x="122220" y="710636"/>
                  <a:pt x="131269" y="688414"/>
                  <a:pt x="140698" y="666697"/>
                </a:cubicBezTo>
                <a:lnTo>
                  <a:pt x="140698" y="666697"/>
                </a:lnTo>
                <a:cubicBezTo>
                  <a:pt x="144984" y="657172"/>
                  <a:pt x="149365" y="646885"/>
                  <a:pt x="153844" y="637170"/>
                </a:cubicBezTo>
                <a:cubicBezTo>
                  <a:pt x="162797" y="617739"/>
                  <a:pt x="172131" y="598689"/>
                  <a:pt x="181752" y="580020"/>
                </a:cubicBezTo>
                <a:cubicBezTo>
                  <a:pt x="186610" y="570495"/>
                  <a:pt x="191277" y="560970"/>
                  <a:pt x="196516" y="552112"/>
                </a:cubicBezTo>
                <a:cubicBezTo>
                  <a:pt x="335675" y="295222"/>
                  <a:pt x="546369" y="112152"/>
                  <a:pt x="814878" y="-338"/>
                </a:cubicBezTo>
                <a:close/>
              </a:path>
            </a:pathLst>
          </a:custGeom>
          <a:gradFill>
            <a:gsLst>
              <a:gs pos="20000">
                <a:schemeClr val="tx1"/>
              </a:gs>
              <a:gs pos="80000">
                <a:schemeClr val="accent2"/>
              </a:gs>
            </a:gsLst>
            <a:lin ang="18600000" scaled="0"/>
          </a:gradFill>
          <a:ln w="9525" cap="flat">
            <a:noFill/>
            <a:prstDash val="solid"/>
            <a:miter/>
          </a:ln>
        </p:spPr>
        <p:txBody>
          <a:bodyPr rtlCol="0" anchor="ctr"/>
          <a:lstStyle/>
          <a:p>
            <a:pPr rtl="0"/>
            <a:endParaRPr lang="en-US" sz="2395"/>
          </a:p>
        </p:txBody>
      </p:sp>
      <p:sp>
        <p:nvSpPr>
          <p:cNvPr id="34" name="Graphic 32">
            <a:extLst>
              <a:ext uri="{FF2B5EF4-FFF2-40B4-BE49-F238E27FC236}">
                <a16:creationId xmlns:a16="http://schemas.microsoft.com/office/drawing/2014/main" id="{1572E2E3-0271-4F94-A245-B5A1AB17B20B}"/>
              </a:ext>
            </a:extLst>
          </p:cNvPr>
          <p:cNvSpPr/>
          <p:nvPr/>
        </p:nvSpPr>
        <p:spPr bwMode="gray">
          <a:xfrm>
            <a:off x="7684692" y="3085555"/>
            <a:ext cx="684222" cy="686891"/>
          </a:xfrm>
          <a:custGeom>
            <a:avLst/>
            <a:gdLst>
              <a:gd name="connsiteX0" fmla="*/ 1345124 w 3844671"/>
              <a:gd name="connsiteY0" fmla="*/ 580777 h 3844956"/>
              <a:gd name="connsiteX1" fmla="*/ 1345124 w 3844671"/>
              <a:gd name="connsiteY1" fmla="*/ 1346111 h 3844956"/>
              <a:gd name="connsiteX2" fmla="*/ 579791 w 3844671"/>
              <a:gd name="connsiteY2" fmla="*/ 1346111 h 3844956"/>
              <a:gd name="connsiteX3" fmla="*/ -1234 w 3844671"/>
              <a:gd name="connsiteY3" fmla="*/ 1920278 h 3844956"/>
              <a:gd name="connsiteX4" fmla="*/ 579791 w 3844671"/>
              <a:gd name="connsiteY4" fmla="*/ 2498159 h 3844956"/>
              <a:gd name="connsiteX5" fmla="*/ 1345124 w 3844671"/>
              <a:gd name="connsiteY5" fmla="*/ 2498159 h 3844956"/>
              <a:gd name="connsiteX6" fmla="*/ 1345124 w 3844671"/>
              <a:gd name="connsiteY6" fmla="*/ 3263207 h 3844956"/>
              <a:gd name="connsiteX7" fmla="*/ 1919292 w 3844671"/>
              <a:gd name="connsiteY7" fmla="*/ 3844708 h 3844956"/>
              <a:gd name="connsiteX8" fmla="*/ 2497174 w 3844671"/>
              <a:gd name="connsiteY8" fmla="*/ 3263207 h 3844956"/>
              <a:gd name="connsiteX9" fmla="*/ 2497174 w 3844671"/>
              <a:gd name="connsiteY9" fmla="*/ 2498159 h 3844956"/>
              <a:gd name="connsiteX10" fmla="*/ 3262412 w 3844671"/>
              <a:gd name="connsiteY10" fmla="*/ 2498159 h 3844956"/>
              <a:gd name="connsiteX11" fmla="*/ 3843437 w 3844671"/>
              <a:gd name="connsiteY11" fmla="*/ 1923992 h 3844956"/>
              <a:gd name="connsiteX12" fmla="*/ 3262412 w 3844671"/>
              <a:gd name="connsiteY12" fmla="*/ 1346111 h 3844956"/>
              <a:gd name="connsiteX13" fmla="*/ 2497078 w 3844671"/>
              <a:gd name="connsiteY13" fmla="*/ 1346111 h 3844956"/>
              <a:gd name="connsiteX14" fmla="*/ 2497078 w 3844671"/>
              <a:gd name="connsiteY14" fmla="*/ 580777 h 3844956"/>
              <a:gd name="connsiteX15" fmla="*/ 1922911 w 3844671"/>
              <a:gd name="connsiteY15" fmla="*/ -248 h 3844956"/>
              <a:gd name="connsiteX16" fmla="*/ 1345029 w 3844671"/>
              <a:gd name="connsiteY16" fmla="*/ 580777 h 384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44671" h="3844956">
                <a:moveTo>
                  <a:pt x="1345124" y="580777"/>
                </a:moveTo>
                <a:lnTo>
                  <a:pt x="1345124" y="1346111"/>
                </a:lnTo>
                <a:lnTo>
                  <a:pt x="579791" y="1346111"/>
                </a:lnTo>
                <a:cubicBezTo>
                  <a:pt x="184789" y="1346111"/>
                  <a:pt x="-1234" y="1569186"/>
                  <a:pt x="-1234" y="1920278"/>
                </a:cubicBezTo>
                <a:cubicBezTo>
                  <a:pt x="-1234" y="2275084"/>
                  <a:pt x="185265" y="2498159"/>
                  <a:pt x="579791" y="2498159"/>
                </a:cubicBezTo>
                <a:lnTo>
                  <a:pt x="1345124" y="2498159"/>
                </a:lnTo>
                <a:lnTo>
                  <a:pt x="1345124" y="3263207"/>
                </a:lnTo>
                <a:cubicBezTo>
                  <a:pt x="1345124" y="3658209"/>
                  <a:pt x="1568200" y="3844708"/>
                  <a:pt x="1919292" y="3844708"/>
                </a:cubicBezTo>
                <a:cubicBezTo>
                  <a:pt x="2274098" y="3844708"/>
                  <a:pt x="2497174" y="3658209"/>
                  <a:pt x="2497174" y="3263207"/>
                </a:cubicBezTo>
                <a:lnTo>
                  <a:pt x="2497174" y="2498159"/>
                </a:lnTo>
                <a:lnTo>
                  <a:pt x="3262412" y="2498159"/>
                </a:lnTo>
                <a:cubicBezTo>
                  <a:pt x="3657318" y="2498159"/>
                  <a:pt x="3843437" y="2275084"/>
                  <a:pt x="3843437" y="1923992"/>
                </a:cubicBezTo>
                <a:cubicBezTo>
                  <a:pt x="3843437" y="1569186"/>
                  <a:pt x="3656843" y="1346111"/>
                  <a:pt x="3262412" y="1346111"/>
                </a:cubicBezTo>
                <a:lnTo>
                  <a:pt x="2497078" y="1346111"/>
                </a:lnTo>
                <a:lnTo>
                  <a:pt x="2497078" y="580777"/>
                </a:lnTo>
                <a:cubicBezTo>
                  <a:pt x="2497078" y="185870"/>
                  <a:pt x="2274003" y="-248"/>
                  <a:pt x="1922911" y="-248"/>
                </a:cubicBezTo>
                <a:cubicBezTo>
                  <a:pt x="1568105" y="-248"/>
                  <a:pt x="1345029" y="186346"/>
                  <a:pt x="1345029" y="580777"/>
                </a:cubicBezTo>
              </a:path>
            </a:pathLst>
          </a:custGeom>
          <a:solidFill>
            <a:schemeClr val="bg2"/>
          </a:solidFill>
          <a:ln w="9525" cap="flat">
            <a:noFill/>
            <a:prstDash val="solid"/>
            <a:miter/>
          </a:ln>
        </p:spPr>
        <p:txBody>
          <a:bodyPr rtlCol="0" anchor="ctr"/>
          <a:lstStyle/>
          <a:p>
            <a:pPr rtl="0"/>
            <a:endParaRPr lang="en-US" sz="2395"/>
          </a:p>
        </p:txBody>
      </p:sp>
    </p:spTree>
    <p:extLst>
      <p:ext uri="{BB962C8B-B14F-4D97-AF65-F5344CB8AC3E}">
        <p14:creationId xmlns:p14="http://schemas.microsoft.com/office/powerpoint/2010/main" val="37275875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0D1434A-A80E-4326-86FD-081E459A56BB}"/>
              </a:ext>
            </a:extLst>
          </p:cNvPr>
          <p:cNvGraphicFramePr>
            <a:graphicFrameLocks noChangeAspect="1"/>
          </p:cNvGraphicFramePr>
          <p:nvPr>
            <p:custDataLst>
              <p:tags r:id="rId1"/>
            </p:custDataLst>
            <p:extLst>
              <p:ext uri="{D42A27DB-BD31-4B8C-83A1-F6EECF244321}">
                <p14:modId xmlns:p14="http://schemas.microsoft.com/office/powerpoint/2010/main" val="197222825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0D1434A-A80E-4326-86FD-081E459A56B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1739673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B32D9CD-D587-4A0A-AADE-22E88642E156}"/>
              </a:ext>
            </a:extLst>
          </p:cNvPr>
          <p:cNvGraphicFramePr>
            <a:graphicFrameLocks noChangeAspect="1"/>
          </p:cNvGraphicFramePr>
          <p:nvPr>
            <p:custDataLst>
              <p:tags r:id="rId1"/>
            </p:custDataLst>
            <p:extLst>
              <p:ext uri="{D42A27DB-BD31-4B8C-83A1-F6EECF244321}">
                <p14:modId xmlns:p14="http://schemas.microsoft.com/office/powerpoint/2010/main" val="249178530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2B32D9CD-D587-4A0A-AADE-22E88642E15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5"/>
            <a:ext cx="5448837" cy="4121342"/>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6248966" y="1666345"/>
            <a:ext cx="5448837" cy="4121342"/>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840666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key statement 24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DE4041B-2FD6-45E2-AD21-81C9A0950981}"/>
              </a:ext>
            </a:extLst>
          </p:cNvPr>
          <p:cNvGraphicFramePr>
            <a:graphicFrameLocks noChangeAspect="1"/>
          </p:cNvGraphicFramePr>
          <p:nvPr>
            <p:custDataLst>
              <p:tags r:id="rId1"/>
            </p:custDataLst>
            <p:extLst>
              <p:ext uri="{D42A27DB-BD31-4B8C-83A1-F6EECF244321}">
                <p14:modId xmlns:p14="http://schemas.microsoft.com/office/powerpoint/2010/main" val="192454219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DE4041B-2FD6-45E2-AD21-81C9A095098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p:nvSpPr>
        <p:spPr bwMode="gray">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2233217" y="3356813"/>
            <a:ext cx="9464584" cy="1770914"/>
          </a:xfrm>
        </p:spPr>
        <p:txBody>
          <a:bodyPr>
            <a:noAutofit/>
          </a:bodyPr>
          <a:lstStyle>
            <a:lvl1pPr marL="152059" indent="-152059" rtl="0">
              <a:lnSpc>
                <a:spcPct val="110000"/>
              </a:lnSpc>
              <a:buClr>
                <a:schemeClr val="bg2"/>
              </a:buClr>
              <a:buFont typeface="Poppins Light" panose="00000400000000000000" pitchFamily="2" charset="0"/>
              <a:buChar char="“"/>
              <a:defRPr sz="2737" i="1">
                <a:solidFill>
                  <a:schemeClr val="bg2"/>
                </a:solidFill>
                <a:latin typeface="Poppins Light" panose="00000400000000000000" pitchFamily="2" charset="0"/>
                <a:cs typeface="Poppins Light" panose="00000400000000000000" pitchFamily="2" charset="0"/>
              </a:defRPr>
            </a:lvl1pPr>
            <a:lvl2pPr marL="133957" indent="0" rtl="0">
              <a:lnSpc>
                <a:spcPct val="100000"/>
              </a:lnSpc>
              <a:spcBef>
                <a:spcPts val="1824"/>
              </a:spcBef>
              <a:buFont typeface="Arial" panose="020B0604020202020204" pitchFamily="34" charset="0"/>
              <a:buNone/>
              <a:defRPr sz="912">
                <a:solidFill>
                  <a:schemeClr val="bg2"/>
                </a:solidFill>
              </a:defRPr>
            </a:lvl2pPr>
          </a:lstStyle>
          <a:p>
            <a:pPr lvl="0"/>
            <a:r>
              <a:rPr lang="en-US"/>
              <a:t>Insert quote or </a:t>
            </a:r>
            <a:br>
              <a:rPr lang="en-US"/>
            </a:br>
            <a:r>
              <a:rPr lang="en-US"/>
              <a:t>key statement here, </a:t>
            </a:r>
            <a:br>
              <a:rPr lang="en-US"/>
            </a:br>
            <a:r>
              <a:rPr lang="en-US"/>
              <a:t>Poppins light italic, 24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92386" y="1666347"/>
            <a:ext cx="2251485" cy="2261245"/>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pic>
        <p:nvPicPr>
          <p:cNvPr id="7" name="Picture 2" descr="Unite_Mercateo_logo landscape_white_RGB@5x">
            <a:extLst>
              <a:ext uri="{FF2B5EF4-FFF2-40B4-BE49-F238E27FC236}">
                <a16:creationId xmlns:a16="http://schemas.microsoft.com/office/drawing/2014/main" id="{78CB0D5E-CB9A-E96E-F8C0-3530F9A5119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972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 images w/ descri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8F2FE9-3CEB-4BBA-8E1A-0A3C035369EB}"/>
              </a:ext>
            </a:extLst>
          </p:cNvPr>
          <p:cNvGraphicFramePr>
            <a:graphicFrameLocks noChangeAspect="1"/>
          </p:cNvGraphicFramePr>
          <p:nvPr>
            <p:custDataLst>
              <p:tags r:id="rId1"/>
            </p:custDataLst>
            <p:extLst>
              <p:ext uri="{D42A27DB-BD31-4B8C-83A1-F6EECF244321}">
                <p14:modId xmlns:p14="http://schemas.microsoft.com/office/powerpoint/2010/main" val="316828410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68F2FE9-3CEB-4BBA-8E1A-0A3C035369E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6"/>
            <a:ext cx="5448837" cy="3729348"/>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6248966" y="1666346"/>
            <a:ext cx="5448837" cy="3729348"/>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92386" y="5486945"/>
            <a:ext cx="5448837"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6248965" y="5486945"/>
            <a:ext cx="5448836"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Tree>
    <p:extLst>
      <p:ext uri="{BB962C8B-B14F-4D97-AF65-F5344CB8AC3E}">
        <p14:creationId xmlns:p14="http://schemas.microsoft.com/office/powerpoint/2010/main" val="183606262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3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C357A48-8305-483F-BFA6-F1E9DC572066}"/>
              </a:ext>
            </a:extLst>
          </p:cNvPr>
          <p:cNvGraphicFramePr>
            <a:graphicFrameLocks noChangeAspect="1"/>
          </p:cNvGraphicFramePr>
          <p:nvPr>
            <p:custDataLst>
              <p:tags r:id="rId1"/>
            </p:custDataLst>
            <p:extLst>
              <p:ext uri="{D42A27DB-BD31-4B8C-83A1-F6EECF244321}">
                <p14:modId xmlns:p14="http://schemas.microsoft.com/office/powerpoint/2010/main" val="426679708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8C357A48-8305-483F-BFA6-F1E9DC57206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5"/>
            <a:ext cx="3537219" cy="4121911"/>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666345"/>
            <a:ext cx="3558941" cy="4121911"/>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666345"/>
            <a:ext cx="3537219" cy="4121342"/>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1877242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 images w/ description">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6E68AEE-C8FF-46B4-8EB1-1ADC9CFA96F5}"/>
              </a:ext>
            </a:extLst>
          </p:cNvPr>
          <p:cNvGraphicFramePr>
            <a:graphicFrameLocks noChangeAspect="1"/>
          </p:cNvGraphicFramePr>
          <p:nvPr>
            <p:custDataLst>
              <p:tags r:id="rId1"/>
            </p:custDataLst>
            <p:extLst>
              <p:ext uri="{D42A27DB-BD31-4B8C-83A1-F6EECF244321}">
                <p14:modId xmlns:p14="http://schemas.microsoft.com/office/powerpoint/2010/main" val="20100095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56E68AEE-C8FF-46B4-8EB1-1ADC9CFA96F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6"/>
            <a:ext cx="3537219" cy="3729348"/>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666346"/>
            <a:ext cx="3558941" cy="3729348"/>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92386" y="5486945"/>
            <a:ext cx="3537220"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4315625" y="5486945"/>
            <a:ext cx="3558941"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666346"/>
            <a:ext cx="3537219" cy="3728833"/>
          </a:xfrm>
          <a:solidFill>
            <a:schemeClr val="bg1"/>
          </a:solidFill>
        </p:spPr>
        <p:txBody>
          <a:bodyPr/>
          <a:lstStyle>
            <a:lvl1pPr rtl="0">
              <a:defRPr/>
            </a:lvl1pPr>
          </a:lstStyle>
          <a:p>
            <a:r>
              <a:rPr lang="en-US"/>
              <a:t> </a:t>
            </a:r>
          </a:p>
        </p:txBody>
      </p:sp>
      <p:sp>
        <p:nvSpPr>
          <p:cNvPr id="12" name="Text Placeholder 11">
            <a:extLst>
              <a:ext uri="{FF2B5EF4-FFF2-40B4-BE49-F238E27FC236}">
                <a16:creationId xmlns:a16="http://schemas.microsoft.com/office/drawing/2014/main" id="{05550665-57B1-4E59-AF5E-4CFF21249F68}"/>
              </a:ext>
            </a:extLst>
          </p:cNvPr>
          <p:cNvSpPr>
            <a:spLocks noGrp="1"/>
          </p:cNvSpPr>
          <p:nvPr>
            <p:ph type="body" sz="quarter" idx="17" hasCustomPrompt="1"/>
          </p:nvPr>
        </p:nvSpPr>
        <p:spPr bwMode="gray">
          <a:xfrm>
            <a:off x="8160583" y="5486945"/>
            <a:ext cx="3537219"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Tree>
    <p:extLst>
      <p:ext uri="{BB962C8B-B14F-4D97-AF65-F5344CB8AC3E}">
        <p14:creationId xmlns:p14="http://schemas.microsoft.com/office/powerpoint/2010/main" val="32905239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AD8F5A0-4FA8-4D2B-BFDB-66434FCCE3EA}"/>
              </a:ext>
            </a:extLst>
          </p:cNvPr>
          <p:cNvGraphicFramePr>
            <a:graphicFrameLocks noChangeAspect="1"/>
          </p:cNvGraphicFramePr>
          <p:nvPr>
            <p:custDataLst>
              <p:tags r:id="rId1"/>
            </p:custDataLst>
            <p:extLst>
              <p:ext uri="{D42A27DB-BD31-4B8C-83A1-F6EECF244321}">
                <p14:modId xmlns:p14="http://schemas.microsoft.com/office/powerpoint/2010/main" val="53283000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AD8F5A0-4FA8-4D2B-BFDB-66434FCCE3EA}"/>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4"/>
            <a:ext cx="3537219" cy="1936789"/>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666344"/>
            <a:ext cx="3558941" cy="1936789"/>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666345"/>
            <a:ext cx="3537219" cy="1936789"/>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92387" y="3850899"/>
            <a:ext cx="3537217" cy="1936789"/>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4315624" y="3850899"/>
            <a:ext cx="3558941" cy="1936789"/>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8160584" y="3850899"/>
            <a:ext cx="3537217" cy="1936789"/>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2820724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6 images bi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2A09E1A-7412-4C0D-B619-41B007285673}"/>
              </a:ext>
            </a:extLst>
          </p:cNvPr>
          <p:cNvGraphicFramePr>
            <a:graphicFrameLocks noChangeAspect="1"/>
          </p:cNvGraphicFramePr>
          <p:nvPr>
            <p:custDataLst>
              <p:tags r:id="rId1"/>
            </p:custDataLst>
            <p:extLst>
              <p:ext uri="{D42A27DB-BD31-4B8C-83A1-F6EECF244321}">
                <p14:modId xmlns:p14="http://schemas.microsoft.com/office/powerpoint/2010/main" val="308537254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2A09E1A-7412-4C0D-B619-41B00728567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395536"/>
            <a:ext cx="3537219" cy="2060413"/>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395536"/>
            <a:ext cx="3558941" cy="2060413"/>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395538"/>
            <a:ext cx="3537219" cy="2060413"/>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92387" y="3727274"/>
            <a:ext cx="3537217" cy="2060413"/>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4315624" y="3727274"/>
            <a:ext cx="3558941" cy="2060413"/>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8160584" y="3727274"/>
            <a:ext cx="3537217" cy="2060413"/>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4189475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FE67A3-F84A-4675-BD57-5B79F24D7E02}"/>
              </a:ext>
            </a:extLst>
          </p:cNvPr>
          <p:cNvGraphicFramePr>
            <a:graphicFrameLocks noChangeAspect="1"/>
          </p:cNvGraphicFramePr>
          <p:nvPr>
            <p:custDataLst>
              <p:tags r:id="rId1"/>
            </p:custDataLst>
            <p:extLst>
              <p:ext uri="{D42A27DB-BD31-4B8C-83A1-F6EECF244321}">
                <p14:modId xmlns:p14="http://schemas.microsoft.com/office/powerpoint/2010/main" val="328002695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4FE67A3-F84A-4675-BD57-5B79F24D7E02}"/>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C7103-9D0F-4FE8-89B1-CCEBCE3DA210}"/>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1B9D9705-6A15-4BDE-B552-744584207911}"/>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DB0114D3-D499-4F76-8225-46121D38D770}"/>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Chart Placeholder 6">
            <a:extLst>
              <a:ext uri="{FF2B5EF4-FFF2-40B4-BE49-F238E27FC236}">
                <a16:creationId xmlns:a16="http://schemas.microsoft.com/office/drawing/2014/main" id="{C2FF66D4-3A30-4CAA-AC8F-84E3613094C1}"/>
              </a:ext>
            </a:extLst>
          </p:cNvPr>
          <p:cNvSpPr>
            <a:spLocks noGrp="1"/>
          </p:cNvSpPr>
          <p:nvPr>
            <p:ph type="chart" sz="quarter" idx="12"/>
          </p:nvPr>
        </p:nvSpPr>
        <p:spPr bwMode="gray">
          <a:xfrm>
            <a:off x="492387" y="2049768"/>
            <a:ext cx="5448837" cy="3737919"/>
          </a:xfrm>
        </p:spPr>
        <p:txBody>
          <a:bodyPr/>
          <a:lstStyle/>
          <a:p>
            <a:r>
              <a:rPr lang="en-US"/>
              <a:t>Click icon to add chart</a:t>
            </a:r>
          </a:p>
        </p:txBody>
      </p:sp>
      <p:sp>
        <p:nvSpPr>
          <p:cNvPr id="9" name="Chart Placeholder 8">
            <a:extLst>
              <a:ext uri="{FF2B5EF4-FFF2-40B4-BE49-F238E27FC236}">
                <a16:creationId xmlns:a16="http://schemas.microsoft.com/office/drawing/2014/main" id="{0111A8C2-4296-4C16-95F7-423BAD30BE44}"/>
              </a:ext>
            </a:extLst>
          </p:cNvPr>
          <p:cNvSpPr>
            <a:spLocks noGrp="1"/>
          </p:cNvSpPr>
          <p:nvPr>
            <p:ph type="chart" sz="quarter" idx="13"/>
          </p:nvPr>
        </p:nvSpPr>
        <p:spPr bwMode="gray">
          <a:xfrm>
            <a:off x="6248966" y="2049768"/>
            <a:ext cx="5448837" cy="3737919"/>
          </a:xfrm>
        </p:spPr>
        <p:txBody>
          <a:bodyPr/>
          <a:lstStyle/>
          <a:p>
            <a:r>
              <a:rPr lang="en-US"/>
              <a:t>Click icon to add chart</a:t>
            </a:r>
          </a:p>
        </p:txBody>
      </p:sp>
      <p:sp>
        <p:nvSpPr>
          <p:cNvPr id="11" name="Text Placeholder 10">
            <a:extLst>
              <a:ext uri="{FF2B5EF4-FFF2-40B4-BE49-F238E27FC236}">
                <a16:creationId xmlns:a16="http://schemas.microsoft.com/office/drawing/2014/main" id="{3775B58E-1D2A-4AFD-8E3E-14DBB7C5465E}"/>
              </a:ext>
            </a:extLst>
          </p:cNvPr>
          <p:cNvSpPr>
            <a:spLocks noGrp="1"/>
          </p:cNvSpPr>
          <p:nvPr>
            <p:ph type="body" sz="quarter" idx="14"/>
          </p:nvPr>
        </p:nvSpPr>
        <p:spPr bwMode="gray">
          <a:xfrm>
            <a:off x="492387" y="1666346"/>
            <a:ext cx="5448836" cy="230612"/>
          </a:xfrm>
        </p:spPr>
        <p:txBody>
          <a:bodyPr>
            <a:noAutofit/>
          </a:bodyPr>
          <a:lstStyle>
            <a:lvl1pPr rtl="0">
              <a:defRPr b="1"/>
            </a:lvl1pPr>
          </a:lstStyle>
          <a:p>
            <a:pPr lvl="0"/>
            <a:r>
              <a:rPr lang="en-US"/>
              <a:t>Click to edit Master text styles</a:t>
            </a:r>
          </a:p>
        </p:txBody>
      </p:sp>
      <p:sp>
        <p:nvSpPr>
          <p:cNvPr id="13" name="Text Placeholder 12">
            <a:extLst>
              <a:ext uri="{FF2B5EF4-FFF2-40B4-BE49-F238E27FC236}">
                <a16:creationId xmlns:a16="http://schemas.microsoft.com/office/drawing/2014/main" id="{C1B0A94E-8E7B-4584-93D1-574B70C5ACE2}"/>
              </a:ext>
            </a:extLst>
          </p:cNvPr>
          <p:cNvSpPr>
            <a:spLocks noGrp="1"/>
          </p:cNvSpPr>
          <p:nvPr>
            <p:ph type="body" sz="quarter" idx="15"/>
          </p:nvPr>
        </p:nvSpPr>
        <p:spPr bwMode="gray">
          <a:xfrm>
            <a:off x="6248966" y="1666346"/>
            <a:ext cx="5448837" cy="230612"/>
          </a:xfrm>
        </p:spPr>
        <p:txBody>
          <a:bodyPr>
            <a:noAutofit/>
          </a:bodyPr>
          <a:lstStyle>
            <a:lvl1pPr rtl="0">
              <a:defRPr b="1"/>
            </a:lvl1pPr>
          </a:lstStyle>
          <a:p>
            <a:pPr lvl="0"/>
            <a:r>
              <a:rPr lang="en-US"/>
              <a:t>Click to edit Master text styles</a:t>
            </a:r>
          </a:p>
        </p:txBody>
      </p:sp>
    </p:spTree>
    <p:extLst>
      <p:ext uri="{BB962C8B-B14F-4D97-AF65-F5344CB8AC3E}">
        <p14:creationId xmlns:p14="http://schemas.microsoft.com/office/powerpoint/2010/main" val="24264261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ig tab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49A0F3-E45D-4FD9-98FA-F9F6529B9723}"/>
              </a:ext>
            </a:extLst>
          </p:cNvPr>
          <p:cNvGraphicFramePr>
            <a:graphicFrameLocks noChangeAspect="1"/>
          </p:cNvGraphicFramePr>
          <p:nvPr>
            <p:custDataLst>
              <p:tags r:id="rId1"/>
            </p:custDataLst>
            <p:extLst>
              <p:ext uri="{D42A27DB-BD31-4B8C-83A1-F6EECF244321}">
                <p14:modId xmlns:p14="http://schemas.microsoft.com/office/powerpoint/2010/main" val="353887621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F49A0F3-E45D-4FD9-98FA-F9F6529B972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19BE4-1469-4C22-BEF2-C825506D7EE2}"/>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8BF12A5E-3D66-47D9-BAFE-F0647069EF77}"/>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176B872-AF46-49F6-BEC3-F2A401F2B71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able Placeholder 6">
            <a:extLst>
              <a:ext uri="{FF2B5EF4-FFF2-40B4-BE49-F238E27FC236}">
                <a16:creationId xmlns:a16="http://schemas.microsoft.com/office/drawing/2014/main" id="{40D93AD9-277E-4DBD-8BE6-0685BF70EA10}"/>
              </a:ext>
            </a:extLst>
          </p:cNvPr>
          <p:cNvSpPr>
            <a:spLocks noGrp="1"/>
          </p:cNvSpPr>
          <p:nvPr>
            <p:ph type="tbl" sz="quarter" idx="12"/>
          </p:nvPr>
        </p:nvSpPr>
        <p:spPr bwMode="gray"/>
        <p:txBody>
          <a:bodyPr/>
          <a:lstStyle/>
          <a:p>
            <a:r>
              <a:rPr lang="en-US"/>
              <a:t>Click icon to add table</a:t>
            </a:r>
          </a:p>
        </p:txBody>
      </p:sp>
    </p:spTree>
    <p:extLst>
      <p:ext uri="{BB962C8B-B14F-4D97-AF65-F5344CB8AC3E}">
        <p14:creationId xmlns:p14="http://schemas.microsoft.com/office/powerpoint/2010/main" val="8947311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4 icons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DE3AF4-C1F0-4196-AA89-9F045EC60721}"/>
              </a:ext>
            </a:extLst>
          </p:cNvPr>
          <p:cNvGraphicFramePr>
            <a:graphicFrameLocks noChangeAspect="1"/>
          </p:cNvGraphicFramePr>
          <p:nvPr>
            <p:custDataLst>
              <p:tags r:id="rId1"/>
            </p:custDataLst>
            <p:extLst>
              <p:ext uri="{D42A27DB-BD31-4B8C-83A1-F6EECF244321}">
                <p14:modId xmlns:p14="http://schemas.microsoft.com/office/powerpoint/2010/main" val="348188640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0DE3AF4-C1F0-4196-AA89-9F045EC6072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2123522" y="1666345"/>
            <a:ext cx="3817704" cy="1936789"/>
          </a:xfrm>
        </p:spPr>
        <p:txBody>
          <a:bodyPr/>
          <a:lstStyle>
            <a:lvl1pPr rtl="0">
              <a:defRPr b="1">
                <a:latin typeface="+mn-lt"/>
              </a:defRPr>
            </a:lvl1pPr>
            <a:lvl2pPr marL="0" indent="0" algn="l" rtl="0">
              <a:spcBef>
                <a:spcPts val="1939"/>
              </a:spcBef>
              <a:buFont typeface="Arial" panose="020B0604020202020204" pitchFamily="34" charset="0"/>
              <a:buNone/>
              <a:defRPr/>
            </a:lvl2pPr>
            <a:lvl3pPr marL="246305" indent="-246305">
              <a:defRPr/>
            </a:lvl3pPr>
            <a:lvl4pPr marL="492610" indent="-246305">
              <a:defRPr/>
            </a:lvl4pPr>
            <a:lvl5pPr marL="738914">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7880101" y="1666345"/>
            <a:ext cx="3817704" cy="1936789"/>
          </a:xfrm>
        </p:spPr>
        <p:txBody>
          <a:bodyPr/>
          <a:lstStyle>
            <a:lvl1pPr rtl="0">
              <a:defRPr b="1"/>
            </a:lvl1pPr>
            <a:lvl2pPr marL="0" indent="0" rtl="0">
              <a:spcBef>
                <a:spcPts val="1939"/>
              </a:spcBef>
              <a:buFont typeface="Arial" panose="020B0604020202020204" pitchFamily="34" charset="0"/>
              <a:buNone/>
              <a:defRPr/>
            </a:lvl2pPr>
            <a:lvl3pPr marL="246305">
              <a:defRPr/>
            </a:lvl3pPr>
            <a:lvl4pPr marL="492610">
              <a:defRPr/>
            </a:lvl4pPr>
            <a:lvl5pPr marL="738914">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2123522" y="3850899"/>
            <a:ext cx="3817702" cy="1936789"/>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7880103" y="3850899"/>
            <a:ext cx="3817700" cy="1936789"/>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92387" y="1666345"/>
            <a:ext cx="1279937" cy="1936789"/>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6246998" y="1666345"/>
            <a:ext cx="1280000" cy="1936789"/>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492387" y="3850899"/>
            <a:ext cx="1280000" cy="1936789"/>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6246998" y="3850899"/>
            <a:ext cx="1280000" cy="1936789"/>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1462160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4 columns text and Ico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FDB7268-8012-494D-9FCE-DC549C3D787F}"/>
              </a:ext>
            </a:extLst>
          </p:cNvPr>
          <p:cNvGraphicFramePr>
            <a:graphicFrameLocks noChangeAspect="1"/>
          </p:cNvGraphicFramePr>
          <p:nvPr>
            <p:custDataLst>
              <p:tags r:id="rId1"/>
            </p:custDataLst>
            <p:extLst>
              <p:ext uri="{D42A27DB-BD31-4B8C-83A1-F6EECF244321}">
                <p14:modId xmlns:p14="http://schemas.microsoft.com/office/powerpoint/2010/main" val="419151687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0FDB7268-8012-494D-9FCE-DC549C3D787F}"/>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92451" y="1666345"/>
            <a:ext cx="2581283" cy="1550046"/>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3359815" y="1666345"/>
            <a:ext cx="2581409" cy="1550046"/>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6248966" y="1666345"/>
            <a:ext cx="2581409" cy="1550046"/>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9116393" y="1666345"/>
            <a:ext cx="2581409" cy="1550046"/>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7" y="3467160"/>
            <a:ext cx="2581409" cy="2320527"/>
          </a:xfrm>
        </p:spPr>
        <p:txBody>
          <a:bodyPr/>
          <a:lstStyle>
            <a:lvl1pPr rtl="0">
              <a:defRPr b="1">
                <a:latin typeface="+mn-lt"/>
              </a:defRPr>
            </a:lvl1pPr>
            <a:lvl2pPr marL="0" indent="0" algn="l" rtl="0">
              <a:spcBef>
                <a:spcPts val="1939"/>
              </a:spcBef>
              <a:buFont typeface="Arial" panose="020B0604020202020204" pitchFamily="34" charset="0"/>
              <a:buNone/>
              <a:defRPr/>
            </a:lvl2pPr>
            <a:lvl3pPr marL="246305" indent="-246305">
              <a:defRPr/>
            </a:lvl3pPr>
            <a:lvl4pPr marL="492610" indent="-246305">
              <a:defRPr/>
            </a:lvl4pPr>
            <a:lvl5pPr marL="738914">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359815" y="3467160"/>
            <a:ext cx="2581409" cy="2320527"/>
          </a:xfrm>
        </p:spPr>
        <p:txBody>
          <a:bodyPr/>
          <a:lstStyle>
            <a:lvl1pPr rtl="0">
              <a:defRPr b="1"/>
            </a:lvl1pPr>
            <a:lvl2pPr marL="0" indent="0" rtl="0">
              <a:spcBef>
                <a:spcPts val="1939"/>
              </a:spcBef>
              <a:buFont typeface="Arial" panose="020B0604020202020204" pitchFamily="34" charset="0"/>
              <a:buNone/>
              <a:defRPr/>
            </a:lvl2pPr>
            <a:lvl3pPr marL="246305">
              <a:defRPr/>
            </a:lvl3pPr>
            <a:lvl4pPr marL="492610">
              <a:defRPr/>
            </a:lvl4pPr>
            <a:lvl5pPr marL="738914">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6248966" y="3467160"/>
            <a:ext cx="2581409" cy="2320527"/>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9116393" y="3467160"/>
            <a:ext cx="2581409" cy="2320527"/>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Tree>
    <p:extLst>
      <p:ext uri="{BB962C8B-B14F-4D97-AF65-F5344CB8AC3E}">
        <p14:creationId xmlns:p14="http://schemas.microsoft.com/office/powerpoint/2010/main" val="18557168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 columns w/ images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50B2748-8BB4-4E60-B99F-8CFC6ACB24D6}"/>
              </a:ext>
            </a:extLst>
          </p:cNvPr>
          <p:cNvGraphicFramePr>
            <a:graphicFrameLocks noChangeAspect="1"/>
          </p:cNvGraphicFramePr>
          <p:nvPr>
            <p:custDataLst>
              <p:tags r:id="rId1"/>
            </p:custDataLst>
            <p:extLst>
              <p:ext uri="{D42A27DB-BD31-4B8C-83A1-F6EECF244321}">
                <p14:modId xmlns:p14="http://schemas.microsoft.com/office/powerpoint/2010/main" val="375010721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C50B2748-8BB4-4E60-B99F-8CFC6ACB24D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CD136C-E25B-411B-B8F5-35647640DDAE}"/>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ußzeilenplatzhalter 2">
            <a:extLst>
              <a:ext uri="{FF2B5EF4-FFF2-40B4-BE49-F238E27FC236}">
                <a16:creationId xmlns:a16="http://schemas.microsoft.com/office/drawing/2014/main" id="{9F37D0A1-30A1-4308-B5E2-DC6147FF89B6}"/>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Foliennummernplatzhalter 3">
            <a:extLst>
              <a:ext uri="{FF2B5EF4-FFF2-40B4-BE49-F238E27FC236}">
                <a16:creationId xmlns:a16="http://schemas.microsoft.com/office/drawing/2014/main" id="{32AD8276-5AFA-4382-B9D3-7D6F7CA20D9B}"/>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10" name="Textplatzhalter 9">
            <a:extLst>
              <a:ext uri="{FF2B5EF4-FFF2-40B4-BE49-F238E27FC236}">
                <a16:creationId xmlns:a16="http://schemas.microsoft.com/office/drawing/2014/main" id="{D41DEF86-038C-45CD-A90A-ADA68572BC0E}"/>
              </a:ext>
            </a:extLst>
          </p:cNvPr>
          <p:cNvSpPr>
            <a:spLocks noGrp="1"/>
          </p:cNvSpPr>
          <p:nvPr>
            <p:ph type="body" sz="quarter" idx="12" hasCustomPrompt="1"/>
          </p:nvPr>
        </p:nvSpPr>
        <p:spPr bwMode="gray">
          <a:xfrm>
            <a:off x="492385" y="1666346"/>
            <a:ext cx="3538615" cy="2175797"/>
          </a:xfrm>
          <a:solidFill>
            <a:srgbClr val="F0F0F2"/>
          </a:solidFill>
        </p:spPr>
        <p:txBody>
          <a:bodyPr lIns="288000" tIns="288000" rIns="288000" bIns="288000"/>
          <a:lstStyle>
            <a:lvl1pPr rtl="0">
              <a:defRPr/>
            </a:lvl1pPr>
            <a:lvl2pPr rtl="0">
              <a:spcBef>
                <a:spcPts val="684"/>
              </a:spcBef>
              <a:defRPr/>
            </a:lvl2pPr>
            <a:lvl3pPr rtl="0">
              <a:spcBef>
                <a:spcPts val="684"/>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2" name="Textplatzhalter 11">
            <a:extLst>
              <a:ext uri="{FF2B5EF4-FFF2-40B4-BE49-F238E27FC236}">
                <a16:creationId xmlns:a16="http://schemas.microsoft.com/office/drawing/2014/main" id="{0EAE6FE0-E638-4A9F-B2AE-528CB9B3F1D0}"/>
              </a:ext>
            </a:extLst>
          </p:cNvPr>
          <p:cNvSpPr>
            <a:spLocks noGrp="1"/>
          </p:cNvSpPr>
          <p:nvPr>
            <p:ph type="body" sz="quarter" idx="13" hasCustomPrompt="1"/>
          </p:nvPr>
        </p:nvSpPr>
        <p:spPr bwMode="gray">
          <a:xfrm>
            <a:off x="4335950" y="1666346"/>
            <a:ext cx="3538615" cy="2175797"/>
          </a:xfrm>
          <a:solidFill>
            <a:srgbClr val="F0F0F2"/>
          </a:solidFill>
        </p:spPr>
        <p:txBody>
          <a:bodyPr lIns="288000" tIns="288000" rIns="288000" bIns="288000"/>
          <a:lstStyle>
            <a:lvl1pPr rtl="0">
              <a:defRPr/>
            </a:lvl1pPr>
            <a:lvl2pPr rtl="0">
              <a:spcBef>
                <a:spcPts val="684"/>
              </a:spcBef>
              <a:defRPr/>
            </a:lvl2pPr>
            <a:lvl3pPr rtl="0">
              <a:spcBef>
                <a:spcPts val="684"/>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4" name="Textplatzhalter 13">
            <a:extLst>
              <a:ext uri="{FF2B5EF4-FFF2-40B4-BE49-F238E27FC236}">
                <a16:creationId xmlns:a16="http://schemas.microsoft.com/office/drawing/2014/main" id="{9E2B11E5-5D67-4AD1-9538-AFD6909C0877}"/>
              </a:ext>
            </a:extLst>
          </p:cNvPr>
          <p:cNvSpPr>
            <a:spLocks noGrp="1"/>
          </p:cNvSpPr>
          <p:nvPr>
            <p:ph type="body" sz="quarter" idx="14" hasCustomPrompt="1"/>
          </p:nvPr>
        </p:nvSpPr>
        <p:spPr bwMode="gray">
          <a:xfrm>
            <a:off x="8159187" y="1666346"/>
            <a:ext cx="3538615" cy="2175797"/>
          </a:xfrm>
          <a:solidFill>
            <a:srgbClr val="F0F0F2"/>
          </a:solidFill>
        </p:spPr>
        <p:txBody>
          <a:bodyPr lIns="288000" tIns="288000" rIns="288000" bIns="288000"/>
          <a:lstStyle>
            <a:lvl1pPr rtl="0">
              <a:defRPr/>
            </a:lvl1pPr>
            <a:lvl2pPr rtl="0">
              <a:spcBef>
                <a:spcPts val="684"/>
              </a:spcBef>
              <a:defRPr/>
            </a:lvl2pPr>
            <a:lvl3pPr rtl="0">
              <a:spcBef>
                <a:spcPts val="684"/>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6" name="Bildplatzhalter 15">
            <a:extLst>
              <a:ext uri="{FF2B5EF4-FFF2-40B4-BE49-F238E27FC236}">
                <a16:creationId xmlns:a16="http://schemas.microsoft.com/office/drawing/2014/main" id="{ED62F0BA-E0D8-4462-98D8-1BEC02846BE1}"/>
              </a:ext>
            </a:extLst>
          </p:cNvPr>
          <p:cNvSpPr>
            <a:spLocks noGrp="1"/>
          </p:cNvSpPr>
          <p:nvPr>
            <p:ph type="pic" sz="quarter" idx="15" hasCustomPrompt="1"/>
          </p:nvPr>
        </p:nvSpPr>
        <p:spPr bwMode="gray">
          <a:xfrm>
            <a:off x="492385" y="3842143"/>
            <a:ext cx="3538615" cy="1945030"/>
          </a:xfrm>
          <a:solidFill>
            <a:schemeClr val="bg1"/>
          </a:solidFill>
        </p:spPr>
        <p:txBody>
          <a:bodyPr/>
          <a:lstStyle>
            <a:lvl1pPr rtl="0">
              <a:defRPr/>
            </a:lvl1pPr>
          </a:lstStyle>
          <a:p>
            <a:r>
              <a:rPr lang="en-US"/>
              <a:t> </a:t>
            </a:r>
          </a:p>
        </p:txBody>
      </p:sp>
      <p:sp>
        <p:nvSpPr>
          <p:cNvPr id="18" name="Bildplatzhalter 17">
            <a:extLst>
              <a:ext uri="{FF2B5EF4-FFF2-40B4-BE49-F238E27FC236}">
                <a16:creationId xmlns:a16="http://schemas.microsoft.com/office/drawing/2014/main" id="{AEAAA656-DF07-4363-8548-DEDEC1B08C57}"/>
              </a:ext>
            </a:extLst>
          </p:cNvPr>
          <p:cNvSpPr>
            <a:spLocks noGrp="1"/>
          </p:cNvSpPr>
          <p:nvPr>
            <p:ph type="pic" sz="quarter" idx="16" hasCustomPrompt="1"/>
          </p:nvPr>
        </p:nvSpPr>
        <p:spPr bwMode="gray">
          <a:xfrm>
            <a:off x="4335950" y="3842143"/>
            <a:ext cx="3538615" cy="1945030"/>
          </a:xfrm>
          <a:solidFill>
            <a:schemeClr val="bg1"/>
          </a:solidFill>
        </p:spPr>
        <p:txBody>
          <a:bodyPr/>
          <a:lstStyle>
            <a:lvl1pPr rtl="0">
              <a:defRPr/>
            </a:lvl1pPr>
          </a:lstStyle>
          <a:p>
            <a:r>
              <a:rPr lang="en-US"/>
              <a:t> </a:t>
            </a:r>
          </a:p>
        </p:txBody>
      </p:sp>
      <p:sp>
        <p:nvSpPr>
          <p:cNvPr id="20" name="Bildplatzhalter 19">
            <a:extLst>
              <a:ext uri="{FF2B5EF4-FFF2-40B4-BE49-F238E27FC236}">
                <a16:creationId xmlns:a16="http://schemas.microsoft.com/office/drawing/2014/main" id="{6DA304B2-ADBE-406A-8B84-2B313D060250}"/>
              </a:ext>
            </a:extLst>
          </p:cNvPr>
          <p:cNvSpPr>
            <a:spLocks noGrp="1"/>
          </p:cNvSpPr>
          <p:nvPr>
            <p:ph type="pic" sz="quarter" idx="17" hasCustomPrompt="1"/>
          </p:nvPr>
        </p:nvSpPr>
        <p:spPr bwMode="gray">
          <a:xfrm>
            <a:off x="8159187" y="3842143"/>
            <a:ext cx="3538615" cy="194503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2353525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key statement 36pt w/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2C23FE0-B8BB-42EF-AF5D-05663B0126C8}"/>
              </a:ext>
            </a:extLst>
          </p:cNvPr>
          <p:cNvGraphicFramePr>
            <a:graphicFrameLocks noChangeAspect="1"/>
          </p:cNvGraphicFramePr>
          <p:nvPr>
            <p:custDataLst>
              <p:tags r:id="rId1"/>
            </p:custDataLst>
            <p:extLst>
              <p:ext uri="{D42A27DB-BD31-4B8C-83A1-F6EECF244321}">
                <p14:modId xmlns:p14="http://schemas.microsoft.com/office/powerpoint/2010/main" val="397283077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2C23FE0-B8BB-42EF-AF5D-05663B0126C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92385" y="1666346"/>
            <a:ext cx="11205416" cy="2378097"/>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33520" indent="-233520" rtl="0">
              <a:lnSpc>
                <a:spcPct val="100000"/>
              </a:lnSpc>
              <a:buFont typeface="Poppins Light" panose="00000400000000000000" pitchFamily="2" charset="0"/>
              <a:buChar char="“"/>
              <a:defRPr sz="4105" i="1">
                <a:solidFill>
                  <a:schemeClr val="bg2"/>
                </a:solidFill>
                <a:latin typeface="Poppins Light" panose="00000400000000000000" pitchFamily="2" charset="0"/>
                <a:cs typeface="Poppins Light" panose="00000400000000000000" pitchFamily="2" charset="0"/>
              </a:defRPr>
            </a:lvl1pPr>
            <a:lvl2pPr marL="233520" indent="0" rtl="0">
              <a:lnSpc>
                <a:spcPct val="100000"/>
              </a:lnSpc>
              <a:spcBef>
                <a:spcPts val="1596"/>
              </a:spcBef>
              <a:buFont typeface="Arial" panose="020B0604020202020204" pitchFamily="34" charset="0"/>
              <a:buNone/>
              <a:defRPr sz="912">
                <a:solidFill>
                  <a:schemeClr val="bg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p:nvSpPr>
        <p:spPr bwMode="gray">
          <a:xfrm>
            <a:off x="492384" y="1666346"/>
            <a:ext cx="11205415" cy="2378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pic>
        <p:nvPicPr>
          <p:cNvPr id="7" name="Picture 2" descr="Unite_Mercateo_logo landscape_white_RGB@5x">
            <a:extLst>
              <a:ext uri="{FF2B5EF4-FFF2-40B4-BE49-F238E27FC236}">
                <a16:creationId xmlns:a16="http://schemas.microsoft.com/office/drawing/2014/main" id="{EFA8A152-7F03-5B17-5F8D-46418A23AE1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20221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rocess 4 steps">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7E434F6-CC43-42FD-82B6-B853AFCD9A01}"/>
              </a:ext>
            </a:extLst>
          </p:cNvPr>
          <p:cNvGraphicFramePr>
            <a:graphicFrameLocks noChangeAspect="1"/>
          </p:cNvGraphicFramePr>
          <p:nvPr>
            <p:custDataLst>
              <p:tags r:id="rId1"/>
            </p:custDataLst>
            <p:extLst>
              <p:ext uri="{D42A27DB-BD31-4B8C-83A1-F6EECF244321}">
                <p14:modId xmlns:p14="http://schemas.microsoft.com/office/powerpoint/2010/main" val="42065311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7E434F6-CC43-42FD-82B6-B853AFCD9A0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9" name="Textplatzhalter 28">
            <a:extLst>
              <a:ext uri="{FF2B5EF4-FFF2-40B4-BE49-F238E27FC236}">
                <a16:creationId xmlns:a16="http://schemas.microsoft.com/office/drawing/2014/main" id="{8B81FF80-440F-4777-B796-5EA5C1933C94}"/>
              </a:ext>
            </a:extLst>
          </p:cNvPr>
          <p:cNvSpPr>
            <a:spLocks noGrp="1"/>
          </p:cNvSpPr>
          <p:nvPr>
            <p:ph type="body" sz="quarter" idx="16" hasCustomPrompt="1"/>
          </p:nvPr>
        </p:nvSpPr>
        <p:spPr bwMode="gray">
          <a:xfrm>
            <a:off x="6271630" y="1128463"/>
            <a:ext cx="5425651" cy="4658668"/>
          </a:xfrm>
          <a:custGeom>
            <a:avLst/>
            <a:gdLst>
              <a:gd name="connsiteX0" fmla="*/ 0 w 4758042"/>
              <a:gd name="connsiteY0" fmla="*/ 0 h 4069864"/>
              <a:gd name="connsiteX1" fmla="*/ 2717709 w 4758042"/>
              <a:gd name="connsiteY1" fmla="*/ 0 h 4069864"/>
              <a:gd name="connsiteX2" fmla="*/ 2957284 w 4758042"/>
              <a:gd name="connsiteY2" fmla="*/ 8672 h 4069864"/>
              <a:gd name="connsiteX3" fmla="*/ 4750923 w 4758042"/>
              <a:gd name="connsiteY3" fmla="*/ 1811629 h 4069864"/>
              <a:gd name="connsiteX4" fmla="*/ 4758042 w 4758042"/>
              <a:gd name="connsiteY4" fmla="*/ 2022577 h 4069864"/>
              <a:gd name="connsiteX5" fmla="*/ 4758042 w 4758042"/>
              <a:gd name="connsiteY5" fmla="*/ 2059489 h 4069864"/>
              <a:gd name="connsiteX6" fmla="*/ 4750923 w 4758042"/>
              <a:gd name="connsiteY6" fmla="*/ 2268335 h 4069864"/>
              <a:gd name="connsiteX7" fmla="*/ 2704315 w 4758042"/>
              <a:gd name="connsiteY7" fmla="*/ 4069864 h 4069864"/>
              <a:gd name="connsiteX8" fmla="*/ 0 w 475804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042" h="4069864">
                <a:moveTo>
                  <a:pt x="0" y="0"/>
                </a:moveTo>
                <a:lnTo>
                  <a:pt x="2717709" y="0"/>
                </a:lnTo>
                <a:lnTo>
                  <a:pt x="2957284" y="8672"/>
                </a:lnTo>
                <a:cubicBezTo>
                  <a:pt x="4097748" y="93770"/>
                  <a:pt x="4678551" y="766833"/>
                  <a:pt x="4750923" y="1811629"/>
                </a:cubicBezTo>
                <a:lnTo>
                  <a:pt x="4758042" y="2022577"/>
                </a:lnTo>
                <a:lnTo>
                  <a:pt x="4758042" y="2059489"/>
                </a:lnTo>
                <a:lnTo>
                  <a:pt x="4750923" y="2268335"/>
                </a:lnTo>
                <a:cubicBezTo>
                  <a:pt x="4673382" y="3377065"/>
                  <a:pt x="4012182" y="4069864"/>
                  <a:pt x="2704315" y="4069864"/>
                </a:cubicBezTo>
                <a:lnTo>
                  <a:pt x="0" y="4069864"/>
                </a:lnTo>
                <a:close/>
              </a:path>
            </a:pathLst>
          </a:custGeom>
          <a:gradFill>
            <a:gsLst>
              <a:gs pos="20000">
                <a:schemeClr val="tx1"/>
              </a:gs>
              <a:gs pos="80000">
                <a:schemeClr val="accent2"/>
              </a:gs>
            </a:gsLst>
            <a:lin ang="18600000" scaled="0"/>
          </a:gradFill>
        </p:spPr>
        <p:txBody>
          <a:bodyPr wrap="square">
            <a:noAutofit/>
          </a:bodyPr>
          <a:lstStyle>
            <a:lvl1pPr rtl="0">
              <a:defRPr sz="114">
                <a:noFill/>
              </a:defRPr>
            </a:lvl1pPr>
          </a:lstStyle>
          <a:p>
            <a:pPr lvl="0"/>
            <a:r>
              <a:rPr lang="en-US"/>
              <a:t> </a:t>
            </a:r>
          </a:p>
        </p:txBody>
      </p:sp>
      <p:sp>
        <p:nvSpPr>
          <p:cNvPr id="28" name="Textplatzhalter 27">
            <a:extLst>
              <a:ext uri="{FF2B5EF4-FFF2-40B4-BE49-F238E27FC236}">
                <a16:creationId xmlns:a16="http://schemas.microsoft.com/office/drawing/2014/main" id="{FAE5EB7E-061F-4F1E-8A68-0F1527D713BA}"/>
              </a:ext>
            </a:extLst>
          </p:cNvPr>
          <p:cNvSpPr>
            <a:spLocks noGrp="1"/>
          </p:cNvSpPr>
          <p:nvPr>
            <p:ph type="body" sz="quarter" idx="15" hasCustomPrompt="1"/>
          </p:nvPr>
        </p:nvSpPr>
        <p:spPr bwMode="gray">
          <a:xfrm>
            <a:off x="3321913" y="1128463"/>
            <a:ext cx="5425843" cy="4658668"/>
          </a:xfrm>
          <a:custGeom>
            <a:avLst/>
            <a:gdLst>
              <a:gd name="connsiteX0" fmla="*/ 0 w 4758210"/>
              <a:gd name="connsiteY0" fmla="*/ 0 h 4069864"/>
              <a:gd name="connsiteX1" fmla="*/ 2717837 w 4758210"/>
              <a:gd name="connsiteY1" fmla="*/ 0 h 4069864"/>
              <a:gd name="connsiteX2" fmla="*/ 2957433 w 4758210"/>
              <a:gd name="connsiteY2" fmla="*/ 8672 h 4069864"/>
              <a:gd name="connsiteX3" fmla="*/ 4751176 w 4758210"/>
              <a:gd name="connsiteY3" fmla="*/ 1811629 h 4069864"/>
              <a:gd name="connsiteX4" fmla="*/ 4758210 w 4758210"/>
              <a:gd name="connsiteY4" fmla="*/ 2020071 h 4069864"/>
              <a:gd name="connsiteX5" fmla="*/ 4758210 w 4758210"/>
              <a:gd name="connsiteY5" fmla="*/ 2061970 h 4069864"/>
              <a:gd name="connsiteX6" fmla="*/ 4751176 w 4758210"/>
              <a:gd name="connsiteY6" fmla="*/ 2268335 h 4069864"/>
              <a:gd name="connsiteX7" fmla="*/ 2704441 w 4758210"/>
              <a:gd name="connsiteY7" fmla="*/ 4069864 h 4069864"/>
              <a:gd name="connsiteX8" fmla="*/ 0 w 4758210"/>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210" h="4069864">
                <a:moveTo>
                  <a:pt x="0" y="0"/>
                </a:moveTo>
                <a:lnTo>
                  <a:pt x="2717837" y="0"/>
                </a:lnTo>
                <a:lnTo>
                  <a:pt x="2957433" y="8672"/>
                </a:lnTo>
                <a:cubicBezTo>
                  <a:pt x="4097993" y="93770"/>
                  <a:pt x="4678804" y="766833"/>
                  <a:pt x="4751176" y="1811629"/>
                </a:cubicBezTo>
                <a:lnTo>
                  <a:pt x="4758210" y="2020071"/>
                </a:lnTo>
                <a:lnTo>
                  <a:pt x="4758210" y="2061970"/>
                </a:lnTo>
                <a:lnTo>
                  <a:pt x="4751176" y="2268335"/>
                </a:lnTo>
                <a:cubicBezTo>
                  <a:pt x="4673634" y="3377065"/>
                  <a:pt x="4012426" y="4069864"/>
                  <a:pt x="2704441" y="4069864"/>
                </a:cubicBezTo>
                <a:lnTo>
                  <a:pt x="0" y="4069864"/>
                </a:lnTo>
                <a:close/>
              </a:path>
            </a:pathLst>
          </a:custGeom>
          <a:solidFill>
            <a:srgbClr val="F0F0F2"/>
          </a:solidFill>
        </p:spPr>
        <p:txBody>
          <a:bodyPr wrap="square">
            <a:noAutofit/>
          </a:bodyPr>
          <a:lstStyle>
            <a:lvl1pPr rtl="0">
              <a:defRPr sz="114">
                <a:solidFill>
                  <a:srgbClr val="F0F0F2"/>
                </a:solidFill>
              </a:defRPr>
            </a:lvl1pPr>
          </a:lstStyle>
          <a:p>
            <a:pPr lvl="0"/>
            <a:r>
              <a:rPr lang="en-US"/>
              <a:t> </a:t>
            </a:r>
          </a:p>
        </p:txBody>
      </p:sp>
      <p:sp>
        <p:nvSpPr>
          <p:cNvPr id="2" name="Titel 1">
            <a:extLst>
              <a:ext uri="{FF2B5EF4-FFF2-40B4-BE49-F238E27FC236}">
                <a16:creationId xmlns:a16="http://schemas.microsoft.com/office/drawing/2014/main" id="{5CA6D6A9-6157-4864-965A-CB906AC6DABE}"/>
              </a:ext>
            </a:extLst>
          </p:cNvPr>
          <p:cNvSpPr>
            <a:spLocks noGrp="1"/>
          </p:cNvSpPr>
          <p:nvPr>
            <p:ph type="title" hasCustomPrompt="1"/>
          </p:nvPr>
        </p:nvSpPr>
        <p:spPr bwMode="gray">
          <a:xfrm>
            <a:off x="492387" y="496088"/>
            <a:ext cx="11205416" cy="306798"/>
          </a:xfrm>
        </p:spPr>
        <p:txBody>
          <a:bodyPr vert="horz">
            <a:noAutofit/>
          </a:bodyPr>
          <a:lstStyle>
            <a:lvl1pPr rtl="0">
              <a:defRPr/>
            </a:lvl1pPr>
          </a:lstStyle>
          <a:p>
            <a:r>
              <a:rPr lang="en-US"/>
              <a:t>Headline, Poppins Regular, 16pt</a:t>
            </a:r>
          </a:p>
        </p:txBody>
      </p:sp>
      <p:sp>
        <p:nvSpPr>
          <p:cNvPr id="3" name="Fußzeilenplatzhalter 2">
            <a:extLst>
              <a:ext uri="{FF2B5EF4-FFF2-40B4-BE49-F238E27FC236}">
                <a16:creationId xmlns:a16="http://schemas.microsoft.com/office/drawing/2014/main" id="{3550728D-8F4D-45E4-AC77-7E9F9AAE18C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Foliennummernplatzhalter 3">
            <a:extLst>
              <a:ext uri="{FF2B5EF4-FFF2-40B4-BE49-F238E27FC236}">
                <a16:creationId xmlns:a16="http://schemas.microsoft.com/office/drawing/2014/main" id="{E29AB88C-3558-49A9-9D34-E9B0C9F3BFEB}"/>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27" name="Textplatzhalter 26">
            <a:extLst>
              <a:ext uri="{FF2B5EF4-FFF2-40B4-BE49-F238E27FC236}">
                <a16:creationId xmlns:a16="http://schemas.microsoft.com/office/drawing/2014/main" id="{5BA999ED-D9FD-435F-808D-49D33CED20D6}"/>
              </a:ext>
            </a:extLst>
          </p:cNvPr>
          <p:cNvSpPr>
            <a:spLocks noGrp="1"/>
          </p:cNvSpPr>
          <p:nvPr>
            <p:ph type="body" sz="quarter" idx="14" hasCustomPrompt="1"/>
          </p:nvPr>
        </p:nvSpPr>
        <p:spPr bwMode="gray">
          <a:xfrm>
            <a:off x="385145" y="1128463"/>
            <a:ext cx="5412893" cy="4658668"/>
          </a:xfrm>
          <a:custGeom>
            <a:avLst/>
            <a:gdLst>
              <a:gd name="connsiteX0" fmla="*/ 0 w 4746854"/>
              <a:gd name="connsiteY0" fmla="*/ 0 h 4069864"/>
              <a:gd name="connsiteX1" fmla="*/ 2711280 w 4746854"/>
              <a:gd name="connsiteY1" fmla="*/ 0 h 4069864"/>
              <a:gd name="connsiteX2" fmla="*/ 2950422 w 4746854"/>
              <a:gd name="connsiteY2" fmla="*/ 8672 h 4069864"/>
              <a:gd name="connsiteX3" fmla="*/ 4739847 w 4746854"/>
              <a:gd name="connsiteY3" fmla="*/ 1811648 h 4069864"/>
              <a:gd name="connsiteX4" fmla="*/ 4746854 w 4746854"/>
              <a:gd name="connsiteY4" fmla="*/ 2020011 h 4069864"/>
              <a:gd name="connsiteX5" fmla="*/ 4746854 w 4746854"/>
              <a:gd name="connsiteY5" fmla="*/ 2062057 h 4069864"/>
              <a:gd name="connsiteX6" fmla="*/ 4739847 w 4746854"/>
              <a:gd name="connsiteY6" fmla="*/ 2268340 h 4069864"/>
              <a:gd name="connsiteX7" fmla="*/ 2697879 w 4746854"/>
              <a:gd name="connsiteY7" fmla="*/ 4069864 h 4069864"/>
              <a:gd name="connsiteX8" fmla="*/ 0 w 4746854"/>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6854" h="4069864">
                <a:moveTo>
                  <a:pt x="0" y="0"/>
                </a:moveTo>
                <a:lnTo>
                  <a:pt x="2711280" y="0"/>
                </a:lnTo>
                <a:lnTo>
                  <a:pt x="2950422" y="8672"/>
                </a:lnTo>
                <a:cubicBezTo>
                  <a:pt x="4088892" y="93774"/>
                  <a:pt x="4667729" y="766868"/>
                  <a:pt x="4739847" y="1811648"/>
                </a:cubicBezTo>
                <a:lnTo>
                  <a:pt x="4746854" y="2020011"/>
                </a:lnTo>
                <a:lnTo>
                  <a:pt x="4746854" y="2062057"/>
                </a:lnTo>
                <a:lnTo>
                  <a:pt x="4739847" y="2268340"/>
                </a:lnTo>
                <a:cubicBezTo>
                  <a:pt x="4662578" y="3377027"/>
                  <a:pt x="4003616" y="4069864"/>
                  <a:pt x="2697879" y="4069864"/>
                </a:cubicBezTo>
                <a:lnTo>
                  <a:pt x="0" y="4069864"/>
                </a:lnTo>
                <a:close/>
              </a:path>
            </a:pathLst>
          </a:custGeom>
          <a:solidFill>
            <a:schemeClr val="bg1"/>
          </a:solidFill>
        </p:spPr>
        <p:txBody>
          <a:bodyPr wrap="square">
            <a:noAutofit/>
          </a:bodyPr>
          <a:lstStyle>
            <a:lvl1pPr rtl="0">
              <a:defRPr sz="114">
                <a:solidFill>
                  <a:srgbClr val="E9E9EF"/>
                </a:solidFill>
              </a:defRPr>
            </a:lvl1pPr>
          </a:lstStyle>
          <a:p>
            <a:pPr lvl="0"/>
            <a:r>
              <a:rPr lang="en-US"/>
              <a:t> </a:t>
            </a:r>
          </a:p>
        </p:txBody>
      </p:sp>
      <p:sp>
        <p:nvSpPr>
          <p:cNvPr id="26" name="Textplatzhalter 25">
            <a:extLst>
              <a:ext uri="{FF2B5EF4-FFF2-40B4-BE49-F238E27FC236}">
                <a16:creationId xmlns:a16="http://schemas.microsoft.com/office/drawing/2014/main" id="{F24CDC40-582F-467E-8F30-08298D5D1E71}"/>
              </a:ext>
            </a:extLst>
          </p:cNvPr>
          <p:cNvSpPr>
            <a:spLocks noGrp="1"/>
          </p:cNvSpPr>
          <p:nvPr>
            <p:ph type="body" sz="quarter" idx="13" hasCustomPrompt="1"/>
          </p:nvPr>
        </p:nvSpPr>
        <p:spPr bwMode="gray">
          <a:xfrm>
            <a:off x="191" y="1128463"/>
            <a:ext cx="2861079" cy="4658668"/>
          </a:xfrm>
          <a:custGeom>
            <a:avLst/>
            <a:gdLst>
              <a:gd name="connsiteX0" fmla="*/ 0 w 2509032"/>
              <a:gd name="connsiteY0" fmla="*/ 0 h 4069864"/>
              <a:gd name="connsiteX1" fmla="*/ 473207 w 2509032"/>
              <a:gd name="connsiteY1" fmla="*/ 0 h 4069864"/>
              <a:gd name="connsiteX2" fmla="*/ 712392 w 2509032"/>
              <a:gd name="connsiteY2" fmla="*/ 8672 h 4069864"/>
              <a:gd name="connsiteX3" fmla="*/ 2502025 w 2509032"/>
              <a:gd name="connsiteY3" fmla="*/ 1811648 h 4069864"/>
              <a:gd name="connsiteX4" fmla="*/ 2509032 w 2509032"/>
              <a:gd name="connsiteY4" fmla="*/ 2020012 h 4069864"/>
              <a:gd name="connsiteX5" fmla="*/ 2509032 w 2509032"/>
              <a:gd name="connsiteY5" fmla="*/ 2054646 h 4069864"/>
              <a:gd name="connsiteX6" fmla="*/ 2501774 w 2509032"/>
              <a:gd name="connsiteY6" fmla="*/ 2268340 h 4069864"/>
              <a:gd name="connsiteX7" fmla="*/ 459804 w 2509032"/>
              <a:gd name="connsiteY7" fmla="*/ 4069864 h 4069864"/>
              <a:gd name="connsiteX8" fmla="*/ 0 w 250903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032" h="4069864">
                <a:moveTo>
                  <a:pt x="0" y="0"/>
                </a:moveTo>
                <a:lnTo>
                  <a:pt x="473207" y="0"/>
                </a:lnTo>
                <a:lnTo>
                  <a:pt x="712392" y="8672"/>
                </a:lnTo>
                <a:cubicBezTo>
                  <a:pt x="1851058" y="93774"/>
                  <a:pt x="2429906" y="766868"/>
                  <a:pt x="2502025" y="1811648"/>
                </a:cubicBezTo>
                <a:lnTo>
                  <a:pt x="2509032" y="2020012"/>
                </a:lnTo>
                <a:lnTo>
                  <a:pt x="2509032" y="2054646"/>
                </a:lnTo>
                <a:lnTo>
                  <a:pt x="2501774" y="2268340"/>
                </a:lnTo>
                <a:cubicBezTo>
                  <a:pt x="2424504" y="3377027"/>
                  <a:pt x="1765542" y="4069864"/>
                  <a:pt x="459804" y="4069864"/>
                </a:cubicBezTo>
                <a:lnTo>
                  <a:pt x="0" y="4069864"/>
                </a:lnTo>
                <a:close/>
              </a:path>
            </a:pathLst>
          </a:custGeom>
          <a:solidFill>
            <a:srgbClr val="F0F0F2"/>
          </a:solidFill>
        </p:spPr>
        <p:txBody>
          <a:bodyPr wrap="square">
            <a:noAutofit/>
          </a:bodyPr>
          <a:lstStyle>
            <a:lvl1pPr rtl="0">
              <a:defRPr sz="114">
                <a:solidFill>
                  <a:srgbClr val="F0F0F2"/>
                </a:solidFill>
              </a:defRPr>
            </a:lvl1pPr>
          </a:lstStyle>
          <a:p>
            <a:pPr lvl="0"/>
            <a:r>
              <a:rPr lang="en-US"/>
              <a:t> </a:t>
            </a:r>
          </a:p>
        </p:txBody>
      </p:sp>
      <p:sp>
        <p:nvSpPr>
          <p:cNvPr id="31" name="Textplatzhalter 30">
            <a:extLst>
              <a:ext uri="{FF2B5EF4-FFF2-40B4-BE49-F238E27FC236}">
                <a16:creationId xmlns:a16="http://schemas.microsoft.com/office/drawing/2014/main" id="{2EEE94AD-24E6-48A3-A563-47EB5D3B4040}"/>
              </a:ext>
            </a:extLst>
          </p:cNvPr>
          <p:cNvSpPr>
            <a:spLocks noGrp="1"/>
          </p:cNvSpPr>
          <p:nvPr>
            <p:ph type="body" sz="quarter" idx="17" hasCustomPrompt="1"/>
          </p:nvPr>
        </p:nvSpPr>
        <p:spPr bwMode="gray">
          <a:xfrm>
            <a:off x="492386" y="2464082"/>
            <a:ext cx="1911619" cy="340560"/>
          </a:xfrm>
        </p:spPr>
        <p:txBody>
          <a:bodyPr>
            <a:noAutofit/>
          </a:bodyPr>
          <a:lstStyle>
            <a:lvl1pPr rtl="0">
              <a:defRPr sz="1824">
                <a:latin typeface="Poppins Medium" panose="00000600000000000000" pitchFamily="2" charset="0"/>
                <a:cs typeface="Poppins Medium" panose="00000600000000000000" pitchFamily="2" charset="0"/>
              </a:defRPr>
            </a:lvl1pPr>
          </a:lstStyle>
          <a:p>
            <a:pPr lvl="0"/>
            <a:r>
              <a:rPr lang="en-US"/>
              <a:t>1. Lorem ipsum</a:t>
            </a:r>
          </a:p>
        </p:txBody>
      </p:sp>
      <p:sp>
        <p:nvSpPr>
          <p:cNvPr id="33" name="Textplatzhalter 32">
            <a:extLst>
              <a:ext uri="{FF2B5EF4-FFF2-40B4-BE49-F238E27FC236}">
                <a16:creationId xmlns:a16="http://schemas.microsoft.com/office/drawing/2014/main" id="{641E9438-11FC-4A74-8FF8-A1B9A5B5EDDE}"/>
              </a:ext>
            </a:extLst>
          </p:cNvPr>
          <p:cNvSpPr>
            <a:spLocks noGrp="1"/>
          </p:cNvSpPr>
          <p:nvPr>
            <p:ph type="body" sz="quarter" idx="18" hasCustomPrompt="1"/>
          </p:nvPr>
        </p:nvSpPr>
        <p:spPr bwMode="gray">
          <a:xfrm>
            <a:off x="3220822" y="2464082"/>
            <a:ext cx="1912987" cy="340560"/>
          </a:xfrm>
        </p:spPr>
        <p:txBody>
          <a:bodyPr>
            <a:noAutofit/>
          </a:bodyPr>
          <a:lstStyle>
            <a:lvl1pPr rtl="0">
              <a:defRPr sz="1824">
                <a:latin typeface="Poppins Medium" panose="00000600000000000000" pitchFamily="2" charset="0"/>
                <a:cs typeface="Poppins Medium" panose="00000600000000000000" pitchFamily="2" charset="0"/>
              </a:defRPr>
            </a:lvl1pPr>
          </a:lstStyle>
          <a:p>
            <a:pPr lvl="0"/>
            <a:r>
              <a:rPr lang="en-US"/>
              <a:t>2. Lorem ipsum</a:t>
            </a:r>
          </a:p>
        </p:txBody>
      </p:sp>
      <p:sp>
        <p:nvSpPr>
          <p:cNvPr id="35" name="Textplatzhalter 34">
            <a:extLst>
              <a:ext uri="{FF2B5EF4-FFF2-40B4-BE49-F238E27FC236}">
                <a16:creationId xmlns:a16="http://schemas.microsoft.com/office/drawing/2014/main" id="{33FCC4FA-1D3F-4549-BAFC-C0B4EBCCE3AB}"/>
              </a:ext>
            </a:extLst>
          </p:cNvPr>
          <p:cNvSpPr>
            <a:spLocks noGrp="1"/>
          </p:cNvSpPr>
          <p:nvPr>
            <p:ph type="body" sz="quarter" idx="19" hasCustomPrompt="1"/>
          </p:nvPr>
        </p:nvSpPr>
        <p:spPr bwMode="gray">
          <a:xfrm>
            <a:off x="6157590" y="2464082"/>
            <a:ext cx="1912987" cy="340560"/>
          </a:xfrm>
        </p:spPr>
        <p:txBody>
          <a:bodyPr>
            <a:noAutofit/>
          </a:bodyPr>
          <a:lstStyle>
            <a:lvl1pPr rtl="0">
              <a:defRPr sz="1824">
                <a:latin typeface="Poppins Medium" panose="00000600000000000000" pitchFamily="2" charset="0"/>
                <a:cs typeface="Poppins Medium" panose="00000600000000000000" pitchFamily="2" charset="0"/>
              </a:defRPr>
            </a:lvl1pPr>
          </a:lstStyle>
          <a:p>
            <a:pPr lvl="0"/>
            <a:r>
              <a:rPr lang="en-US"/>
              <a:t>3. Lorem ipsum</a:t>
            </a:r>
          </a:p>
        </p:txBody>
      </p:sp>
      <p:sp>
        <p:nvSpPr>
          <p:cNvPr id="37" name="Textplatzhalter 36">
            <a:extLst>
              <a:ext uri="{FF2B5EF4-FFF2-40B4-BE49-F238E27FC236}">
                <a16:creationId xmlns:a16="http://schemas.microsoft.com/office/drawing/2014/main" id="{F7647E21-17D3-49A4-BDED-4605EC6DDACF}"/>
              </a:ext>
            </a:extLst>
          </p:cNvPr>
          <p:cNvSpPr>
            <a:spLocks noGrp="1"/>
          </p:cNvSpPr>
          <p:nvPr>
            <p:ph type="body" sz="quarter" idx="20" hasCustomPrompt="1"/>
          </p:nvPr>
        </p:nvSpPr>
        <p:spPr bwMode="gray">
          <a:xfrm>
            <a:off x="9107307" y="2464082"/>
            <a:ext cx="1912987" cy="340560"/>
          </a:xfrm>
        </p:spPr>
        <p:txBody>
          <a:bodyPr>
            <a:noAutofit/>
          </a:bodyPr>
          <a:lstStyle>
            <a:lvl1pPr rtl="0">
              <a:defRPr sz="1824">
                <a:solidFill>
                  <a:schemeClr val="bg2"/>
                </a:solidFill>
                <a:latin typeface="Poppins Medium" panose="00000600000000000000" pitchFamily="2" charset="0"/>
                <a:cs typeface="Poppins Medium" panose="00000600000000000000" pitchFamily="2" charset="0"/>
              </a:defRPr>
            </a:lvl1pPr>
          </a:lstStyle>
          <a:p>
            <a:pPr lvl="0"/>
            <a:r>
              <a:rPr lang="en-US"/>
              <a:t>4. Lorem ipsum</a:t>
            </a:r>
          </a:p>
        </p:txBody>
      </p:sp>
      <p:sp>
        <p:nvSpPr>
          <p:cNvPr id="39" name="Textplatzhalter 38">
            <a:extLst>
              <a:ext uri="{FF2B5EF4-FFF2-40B4-BE49-F238E27FC236}">
                <a16:creationId xmlns:a16="http://schemas.microsoft.com/office/drawing/2014/main" id="{784CE13C-4252-4C99-BDD7-3874FF04F8BB}"/>
              </a:ext>
            </a:extLst>
          </p:cNvPr>
          <p:cNvSpPr>
            <a:spLocks noGrp="1"/>
          </p:cNvSpPr>
          <p:nvPr>
            <p:ph type="body" sz="quarter" idx="21" hasCustomPrompt="1"/>
          </p:nvPr>
        </p:nvSpPr>
        <p:spPr bwMode="gray">
          <a:xfrm>
            <a:off x="491018" y="3031289"/>
            <a:ext cx="1912987" cy="1372027"/>
          </a:xfrm>
        </p:spPr>
        <p:txBody>
          <a:bodyPr/>
          <a:lstStyle>
            <a:lvl1pPr rtl="0">
              <a:defRPr/>
            </a:lvl1pPr>
            <a:lvl2pPr rtl="0">
              <a:spcBef>
                <a:spcPts val="684"/>
              </a:spcBef>
              <a:defRPr/>
            </a:lvl2pPr>
            <a:lvl3pPr rtl="0">
              <a:defRPr/>
            </a:lvl3pPr>
          </a:lstStyle>
          <a:p>
            <a:pPr lvl="0"/>
            <a:r>
              <a:rPr lang="en-US"/>
              <a:t>First level, Noto Sans Regular, 11pt</a:t>
            </a:r>
          </a:p>
          <a:p>
            <a:pPr lvl="1"/>
            <a:r>
              <a:rPr lang="en-US"/>
              <a:t>Second level, Noto Sans Regular, 11pt</a:t>
            </a:r>
          </a:p>
        </p:txBody>
      </p:sp>
      <p:sp>
        <p:nvSpPr>
          <p:cNvPr id="41" name="Textplatzhalter 40">
            <a:extLst>
              <a:ext uri="{FF2B5EF4-FFF2-40B4-BE49-F238E27FC236}">
                <a16:creationId xmlns:a16="http://schemas.microsoft.com/office/drawing/2014/main" id="{E590810B-20A4-4368-A28D-4319EDC0EF0E}"/>
              </a:ext>
            </a:extLst>
          </p:cNvPr>
          <p:cNvSpPr>
            <a:spLocks noGrp="1"/>
          </p:cNvSpPr>
          <p:nvPr>
            <p:ph type="body" sz="quarter" idx="22" hasCustomPrompt="1"/>
          </p:nvPr>
        </p:nvSpPr>
        <p:spPr bwMode="gray">
          <a:xfrm>
            <a:off x="3220822" y="3031287"/>
            <a:ext cx="1912987" cy="1372235"/>
          </a:xfrm>
        </p:spPr>
        <p:txBody>
          <a:bodyPr/>
          <a:lstStyle>
            <a:lvl1pPr rtl="0">
              <a:defRPr/>
            </a:lvl1pPr>
            <a:lvl2pPr rtl="0">
              <a:spcBef>
                <a:spcPts val="684"/>
              </a:spcBef>
              <a:defRPr/>
            </a:lvl2pPr>
            <a:lvl3pPr rtl="0">
              <a:defRPr/>
            </a:lvl3pPr>
          </a:lstStyle>
          <a:p>
            <a:pPr lvl="0"/>
            <a:r>
              <a:rPr lang="en-US"/>
              <a:t>First level, Noto Sans Regular, 11pt</a:t>
            </a:r>
          </a:p>
          <a:p>
            <a:pPr lvl="1"/>
            <a:r>
              <a:rPr lang="en-US"/>
              <a:t>Second level, Noto Sans Regular, 11pt</a:t>
            </a:r>
          </a:p>
        </p:txBody>
      </p:sp>
      <p:sp>
        <p:nvSpPr>
          <p:cNvPr id="43" name="Textplatzhalter 42">
            <a:extLst>
              <a:ext uri="{FF2B5EF4-FFF2-40B4-BE49-F238E27FC236}">
                <a16:creationId xmlns:a16="http://schemas.microsoft.com/office/drawing/2014/main" id="{E982175E-F3E1-4BE4-A0D4-64B00C9B9A95}"/>
              </a:ext>
            </a:extLst>
          </p:cNvPr>
          <p:cNvSpPr>
            <a:spLocks noGrp="1"/>
          </p:cNvSpPr>
          <p:nvPr>
            <p:ph type="body" sz="quarter" idx="23" hasCustomPrompt="1"/>
          </p:nvPr>
        </p:nvSpPr>
        <p:spPr bwMode="gray">
          <a:xfrm>
            <a:off x="6157590" y="3031289"/>
            <a:ext cx="1912987" cy="1372235"/>
          </a:xfrm>
        </p:spPr>
        <p:txBody>
          <a:bodyPr/>
          <a:lstStyle>
            <a:lvl1pPr rtl="0">
              <a:defRPr/>
            </a:lvl1pPr>
            <a:lvl2pPr rtl="0">
              <a:spcBef>
                <a:spcPts val="684"/>
              </a:spcBef>
              <a:defRPr/>
            </a:lvl2pPr>
            <a:lvl3pPr rtl="0">
              <a:defRPr/>
            </a:lvl3pPr>
          </a:lstStyle>
          <a:p>
            <a:pPr lvl="0"/>
            <a:r>
              <a:rPr lang="en-US"/>
              <a:t>First level, Noto Sans Regular, 11pt</a:t>
            </a:r>
          </a:p>
          <a:p>
            <a:pPr lvl="1"/>
            <a:r>
              <a:rPr lang="en-US"/>
              <a:t>Second level, Noto Sans Regular, 11pt</a:t>
            </a:r>
          </a:p>
        </p:txBody>
      </p:sp>
      <p:sp>
        <p:nvSpPr>
          <p:cNvPr id="45" name="Textplatzhalter 44">
            <a:extLst>
              <a:ext uri="{FF2B5EF4-FFF2-40B4-BE49-F238E27FC236}">
                <a16:creationId xmlns:a16="http://schemas.microsoft.com/office/drawing/2014/main" id="{0EB55448-137E-4C18-B62B-01486A06D6D6}"/>
              </a:ext>
            </a:extLst>
          </p:cNvPr>
          <p:cNvSpPr>
            <a:spLocks noGrp="1"/>
          </p:cNvSpPr>
          <p:nvPr>
            <p:ph type="body" sz="quarter" idx="24" hasCustomPrompt="1"/>
          </p:nvPr>
        </p:nvSpPr>
        <p:spPr bwMode="gray">
          <a:xfrm>
            <a:off x="9107307" y="3031289"/>
            <a:ext cx="1912987" cy="1372235"/>
          </a:xfrm>
        </p:spPr>
        <p:txBody>
          <a:bodyPr/>
          <a:lstStyle>
            <a:lvl1pPr rtl="0">
              <a:defRPr>
                <a:solidFill>
                  <a:schemeClr val="bg2"/>
                </a:solidFill>
              </a:defRPr>
            </a:lvl1pPr>
            <a:lvl2pPr marL="246305" indent="-246305" rtl="0">
              <a:spcBef>
                <a:spcPts val="684"/>
              </a:spcBef>
              <a:buFontTx/>
              <a:buBlip>
                <a:blip r:embed="rId5"/>
              </a:buBlip>
              <a:defRPr>
                <a:solidFill>
                  <a:schemeClr val="bg2"/>
                </a:solidFill>
              </a:defRPr>
            </a:lvl2pPr>
            <a:lvl3pPr marL="492610" indent="-246305" rtl="0">
              <a:buFontTx/>
              <a:buBlip>
                <a:blip r:embed="rId5"/>
              </a:buBlip>
              <a:defRPr>
                <a:solidFill>
                  <a:schemeClr val="bg1"/>
                </a:solidFill>
              </a:defRPr>
            </a:lvl3pPr>
          </a:lstStyle>
          <a:p>
            <a:pPr lvl="0"/>
            <a:r>
              <a:rPr lang="en-US"/>
              <a:t>First level, Noto Sans Regular, 11pt</a:t>
            </a:r>
          </a:p>
          <a:p>
            <a:pPr lvl="1"/>
            <a:r>
              <a:rPr lang="en-US"/>
              <a:t>Second level, Noto Sans Regular, 11pt</a:t>
            </a:r>
          </a:p>
        </p:txBody>
      </p:sp>
    </p:spTree>
    <p:extLst>
      <p:ext uri="{BB962C8B-B14F-4D97-AF65-F5344CB8AC3E}">
        <p14:creationId xmlns:p14="http://schemas.microsoft.com/office/powerpoint/2010/main" val="1792679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roject Team">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6F35796-47EC-4E8B-AB93-AADC51685273}"/>
              </a:ext>
            </a:extLst>
          </p:cNvPr>
          <p:cNvGraphicFramePr>
            <a:graphicFrameLocks noChangeAspect="1"/>
          </p:cNvGraphicFramePr>
          <p:nvPr>
            <p:custDataLst>
              <p:tags r:id="rId1"/>
            </p:custDataLst>
            <p:extLst>
              <p:ext uri="{D42A27DB-BD31-4B8C-83A1-F6EECF244321}">
                <p14:modId xmlns:p14="http://schemas.microsoft.com/office/powerpoint/2010/main" val="161901732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6F35796-47EC-4E8B-AB93-AADC5168527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92386" y="1666346"/>
            <a:ext cx="1293114" cy="1298060"/>
          </a:xfrm>
          <a:prstGeom prst="ellipse">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402180" y="1666346"/>
            <a:ext cx="1293114" cy="1298060"/>
          </a:xfrm>
          <a:prstGeom prst="ellipse">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4315624" y="1666346"/>
            <a:ext cx="1293114" cy="1298060"/>
          </a:xfrm>
          <a:prstGeom prst="ellipse">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6248965" y="1666346"/>
            <a:ext cx="1293114" cy="1298060"/>
          </a:xfrm>
          <a:prstGeom prst="ellipse">
            <a:avLst/>
          </a:prstGeom>
          <a:solidFill>
            <a:schemeClr val="bg1"/>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1AB22573-4B70-4148-B254-957B8275F1CD}"/>
              </a:ext>
            </a:extLst>
          </p:cNvPr>
          <p:cNvSpPr>
            <a:spLocks noGrp="1"/>
          </p:cNvSpPr>
          <p:nvPr>
            <p:ph type="pic" sz="quarter" idx="16" hasCustomPrompt="1"/>
          </p:nvPr>
        </p:nvSpPr>
        <p:spPr bwMode="gray">
          <a:xfrm>
            <a:off x="8160585" y="1666346"/>
            <a:ext cx="1293114" cy="1298060"/>
          </a:xfrm>
          <a:prstGeom prst="ellipse">
            <a:avLst/>
          </a:prstGeom>
          <a:solidFill>
            <a:schemeClr val="bg1"/>
          </a:solidFill>
        </p:spPr>
        <p:txBody>
          <a:bodyPr/>
          <a:lstStyle>
            <a:lvl1pPr rtl="0">
              <a:defRPr/>
            </a:lvl1pPr>
          </a:lstStyle>
          <a:p>
            <a:r>
              <a:rPr lang="en-US"/>
              <a:t> </a:t>
            </a:r>
          </a:p>
        </p:txBody>
      </p:sp>
      <p:sp>
        <p:nvSpPr>
          <p:cNvPr id="19" name="Picture Placeholder 18">
            <a:extLst>
              <a:ext uri="{FF2B5EF4-FFF2-40B4-BE49-F238E27FC236}">
                <a16:creationId xmlns:a16="http://schemas.microsoft.com/office/drawing/2014/main" id="{255EA54F-3E63-4C54-BDC6-F1B2575FC0D2}"/>
              </a:ext>
            </a:extLst>
          </p:cNvPr>
          <p:cNvSpPr>
            <a:spLocks noGrp="1"/>
          </p:cNvSpPr>
          <p:nvPr>
            <p:ph type="pic" sz="quarter" idx="17" hasCustomPrompt="1"/>
          </p:nvPr>
        </p:nvSpPr>
        <p:spPr bwMode="gray">
          <a:xfrm>
            <a:off x="10072202" y="1666346"/>
            <a:ext cx="1293114" cy="1298060"/>
          </a:xfrm>
          <a:prstGeom prst="ellipse">
            <a:avLst/>
          </a:prstGeom>
          <a:solidFill>
            <a:schemeClr val="bg1"/>
          </a:solidFill>
        </p:spPr>
        <p:txBody>
          <a:bodyPr/>
          <a:lstStyle>
            <a:lvl1pPr rtl="0">
              <a:defRPr/>
            </a:lvl1pPr>
          </a:lstStyle>
          <a:p>
            <a:r>
              <a:rPr lang="en-US"/>
              <a:t> </a:t>
            </a:r>
          </a:p>
        </p:txBody>
      </p:sp>
      <p:sp>
        <p:nvSpPr>
          <p:cNvPr id="21" name="Picture Placeholder 20">
            <a:extLst>
              <a:ext uri="{FF2B5EF4-FFF2-40B4-BE49-F238E27FC236}">
                <a16:creationId xmlns:a16="http://schemas.microsoft.com/office/drawing/2014/main" id="{25BF94A9-A968-456D-B381-13906B4BC9F7}"/>
              </a:ext>
            </a:extLst>
          </p:cNvPr>
          <p:cNvSpPr>
            <a:spLocks noGrp="1"/>
          </p:cNvSpPr>
          <p:nvPr>
            <p:ph type="pic" sz="quarter" idx="18" hasCustomPrompt="1"/>
          </p:nvPr>
        </p:nvSpPr>
        <p:spPr bwMode="gray">
          <a:xfrm>
            <a:off x="492386" y="3918992"/>
            <a:ext cx="1293114" cy="1298060"/>
          </a:xfrm>
          <a:prstGeom prst="ellipse">
            <a:avLst/>
          </a:prstGeom>
          <a:solidFill>
            <a:schemeClr val="bg1"/>
          </a:solidFill>
        </p:spPr>
        <p:txBody>
          <a:bodyPr/>
          <a:lstStyle>
            <a:lvl1pPr rtl="0">
              <a:defRPr/>
            </a:lvl1pPr>
          </a:lstStyle>
          <a:p>
            <a:r>
              <a:rPr lang="en-US"/>
              <a:t> </a:t>
            </a:r>
          </a:p>
        </p:txBody>
      </p:sp>
      <p:sp>
        <p:nvSpPr>
          <p:cNvPr id="23" name="Picture Placeholder 22">
            <a:extLst>
              <a:ext uri="{FF2B5EF4-FFF2-40B4-BE49-F238E27FC236}">
                <a16:creationId xmlns:a16="http://schemas.microsoft.com/office/drawing/2014/main" id="{85560FF0-9C7A-4EDB-99C5-56BB739FC23F}"/>
              </a:ext>
            </a:extLst>
          </p:cNvPr>
          <p:cNvSpPr>
            <a:spLocks noGrp="1"/>
          </p:cNvSpPr>
          <p:nvPr>
            <p:ph type="pic" sz="quarter" idx="19" hasCustomPrompt="1"/>
          </p:nvPr>
        </p:nvSpPr>
        <p:spPr bwMode="gray">
          <a:xfrm>
            <a:off x="2402180" y="3918992"/>
            <a:ext cx="1293114" cy="1298060"/>
          </a:xfrm>
          <a:prstGeom prst="ellipse">
            <a:avLst/>
          </a:prstGeom>
          <a:solidFill>
            <a:schemeClr val="bg1"/>
          </a:solidFill>
        </p:spPr>
        <p:txBody>
          <a:bodyPr/>
          <a:lstStyle>
            <a:lvl1pPr rtl="0">
              <a:defRPr/>
            </a:lvl1pPr>
          </a:lstStyle>
          <a:p>
            <a:r>
              <a:rPr lang="en-US"/>
              <a:t> </a:t>
            </a:r>
          </a:p>
        </p:txBody>
      </p:sp>
      <p:sp>
        <p:nvSpPr>
          <p:cNvPr id="25" name="Picture Placeholder 24">
            <a:extLst>
              <a:ext uri="{FF2B5EF4-FFF2-40B4-BE49-F238E27FC236}">
                <a16:creationId xmlns:a16="http://schemas.microsoft.com/office/drawing/2014/main" id="{BFE218E6-1C4D-44A8-9FC9-456D10A8512B}"/>
              </a:ext>
            </a:extLst>
          </p:cNvPr>
          <p:cNvSpPr>
            <a:spLocks noGrp="1"/>
          </p:cNvSpPr>
          <p:nvPr>
            <p:ph type="pic" sz="quarter" idx="20" hasCustomPrompt="1"/>
          </p:nvPr>
        </p:nvSpPr>
        <p:spPr bwMode="gray">
          <a:xfrm>
            <a:off x="4315624" y="3918992"/>
            <a:ext cx="1293114" cy="1298060"/>
          </a:xfrm>
          <a:prstGeom prst="ellipse">
            <a:avLst/>
          </a:prstGeom>
          <a:solidFill>
            <a:schemeClr val="bg1"/>
          </a:solidFill>
        </p:spPr>
        <p:txBody>
          <a:bodyPr/>
          <a:lstStyle>
            <a:lvl1pPr rtl="0">
              <a:defRPr/>
            </a:lvl1pPr>
          </a:lstStyle>
          <a:p>
            <a:r>
              <a:rPr lang="en-US"/>
              <a:t> </a:t>
            </a:r>
          </a:p>
        </p:txBody>
      </p:sp>
      <p:sp>
        <p:nvSpPr>
          <p:cNvPr id="27" name="Picture Placeholder 26">
            <a:extLst>
              <a:ext uri="{FF2B5EF4-FFF2-40B4-BE49-F238E27FC236}">
                <a16:creationId xmlns:a16="http://schemas.microsoft.com/office/drawing/2014/main" id="{03FBE6A1-CABF-4B20-8E3B-A69BB83FBB84}"/>
              </a:ext>
            </a:extLst>
          </p:cNvPr>
          <p:cNvSpPr>
            <a:spLocks noGrp="1"/>
          </p:cNvSpPr>
          <p:nvPr>
            <p:ph type="pic" sz="quarter" idx="21" hasCustomPrompt="1"/>
          </p:nvPr>
        </p:nvSpPr>
        <p:spPr bwMode="gray">
          <a:xfrm>
            <a:off x="6248965" y="3918992"/>
            <a:ext cx="1293114" cy="1298060"/>
          </a:xfrm>
          <a:prstGeom prst="ellipse">
            <a:avLst/>
          </a:prstGeom>
          <a:solidFill>
            <a:schemeClr val="bg1"/>
          </a:solidFill>
        </p:spPr>
        <p:txBody>
          <a:bodyPr/>
          <a:lstStyle>
            <a:lvl1pPr rtl="0">
              <a:defRPr/>
            </a:lvl1pPr>
          </a:lstStyle>
          <a:p>
            <a:r>
              <a:rPr lang="en-US"/>
              <a:t> </a:t>
            </a:r>
          </a:p>
        </p:txBody>
      </p:sp>
      <p:sp>
        <p:nvSpPr>
          <p:cNvPr id="29" name="Picture Placeholder 28">
            <a:extLst>
              <a:ext uri="{FF2B5EF4-FFF2-40B4-BE49-F238E27FC236}">
                <a16:creationId xmlns:a16="http://schemas.microsoft.com/office/drawing/2014/main" id="{630DCDA8-836E-4A76-B02F-F4FDB366B028}"/>
              </a:ext>
            </a:extLst>
          </p:cNvPr>
          <p:cNvSpPr>
            <a:spLocks noGrp="1"/>
          </p:cNvSpPr>
          <p:nvPr>
            <p:ph type="pic" sz="quarter" idx="22" hasCustomPrompt="1"/>
          </p:nvPr>
        </p:nvSpPr>
        <p:spPr bwMode="gray">
          <a:xfrm>
            <a:off x="8160585" y="3918992"/>
            <a:ext cx="1293114" cy="1298060"/>
          </a:xfrm>
          <a:prstGeom prst="ellipse">
            <a:avLst/>
          </a:prstGeom>
          <a:solidFill>
            <a:schemeClr val="bg1"/>
          </a:solidFill>
        </p:spPr>
        <p:txBody>
          <a:bodyPr/>
          <a:lstStyle>
            <a:lvl1pPr rtl="0">
              <a:defRPr/>
            </a:lvl1pPr>
          </a:lstStyle>
          <a:p>
            <a:r>
              <a:rPr lang="en-US"/>
              <a:t> </a:t>
            </a:r>
          </a:p>
        </p:txBody>
      </p:sp>
      <p:sp>
        <p:nvSpPr>
          <p:cNvPr id="31" name="Picture Placeholder 30">
            <a:extLst>
              <a:ext uri="{FF2B5EF4-FFF2-40B4-BE49-F238E27FC236}">
                <a16:creationId xmlns:a16="http://schemas.microsoft.com/office/drawing/2014/main" id="{BA99AF3F-20D5-4766-9C63-C9FA2D781C51}"/>
              </a:ext>
            </a:extLst>
          </p:cNvPr>
          <p:cNvSpPr>
            <a:spLocks noGrp="1"/>
          </p:cNvSpPr>
          <p:nvPr>
            <p:ph type="pic" sz="quarter" idx="23" hasCustomPrompt="1"/>
          </p:nvPr>
        </p:nvSpPr>
        <p:spPr bwMode="gray">
          <a:xfrm>
            <a:off x="10072202" y="3918992"/>
            <a:ext cx="1293114" cy="1298060"/>
          </a:xfrm>
          <a:prstGeom prst="ellipse">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92387"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402181"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4315624"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6248966"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1" name="Text Placeholder 40">
            <a:extLst>
              <a:ext uri="{FF2B5EF4-FFF2-40B4-BE49-F238E27FC236}">
                <a16:creationId xmlns:a16="http://schemas.microsoft.com/office/drawing/2014/main" id="{5698112C-B4DF-4453-9055-D32E04731F27}"/>
              </a:ext>
            </a:extLst>
          </p:cNvPr>
          <p:cNvSpPr>
            <a:spLocks noGrp="1"/>
          </p:cNvSpPr>
          <p:nvPr>
            <p:ph type="body" sz="quarter" idx="28" hasCustomPrompt="1"/>
          </p:nvPr>
        </p:nvSpPr>
        <p:spPr bwMode="gray">
          <a:xfrm>
            <a:off x="8160585"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3" name="Text Placeholder 42">
            <a:extLst>
              <a:ext uri="{FF2B5EF4-FFF2-40B4-BE49-F238E27FC236}">
                <a16:creationId xmlns:a16="http://schemas.microsoft.com/office/drawing/2014/main" id="{38351D23-3D63-491B-8857-2F724767C255}"/>
              </a:ext>
            </a:extLst>
          </p:cNvPr>
          <p:cNvSpPr>
            <a:spLocks noGrp="1"/>
          </p:cNvSpPr>
          <p:nvPr>
            <p:ph type="body" sz="quarter" idx="29" hasCustomPrompt="1"/>
          </p:nvPr>
        </p:nvSpPr>
        <p:spPr bwMode="gray">
          <a:xfrm>
            <a:off x="10072203"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5" name="Text Placeholder 44">
            <a:extLst>
              <a:ext uri="{FF2B5EF4-FFF2-40B4-BE49-F238E27FC236}">
                <a16:creationId xmlns:a16="http://schemas.microsoft.com/office/drawing/2014/main" id="{2675083F-C70D-457F-AFE5-17AD2E1B6BA2}"/>
              </a:ext>
            </a:extLst>
          </p:cNvPr>
          <p:cNvSpPr>
            <a:spLocks noGrp="1"/>
          </p:cNvSpPr>
          <p:nvPr>
            <p:ph type="body" sz="quarter" idx="30" hasCustomPrompt="1"/>
          </p:nvPr>
        </p:nvSpPr>
        <p:spPr bwMode="gray">
          <a:xfrm>
            <a:off x="492387"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7" name="Text Placeholder 46">
            <a:extLst>
              <a:ext uri="{FF2B5EF4-FFF2-40B4-BE49-F238E27FC236}">
                <a16:creationId xmlns:a16="http://schemas.microsoft.com/office/drawing/2014/main" id="{5B328946-09F9-4336-90CE-21550A94B5F1}"/>
              </a:ext>
            </a:extLst>
          </p:cNvPr>
          <p:cNvSpPr>
            <a:spLocks noGrp="1"/>
          </p:cNvSpPr>
          <p:nvPr>
            <p:ph type="body" sz="quarter" idx="31" hasCustomPrompt="1"/>
          </p:nvPr>
        </p:nvSpPr>
        <p:spPr bwMode="gray">
          <a:xfrm>
            <a:off x="2402181"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9" name="Text Placeholder 48">
            <a:extLst>
              <a:ext uri="{FF2B5EF4-FFF2-40B4-BE49-F238E27FC236}">
                <a16:creationId xmlns:a16="http://schemas.microsoft.com/office/drawing/2014/main" id="{C48AAE3A-3DE9-43FC-B1BE-F529D0E16E60}"/>
              </a:ext>
            </a:extLst>
          </p:cNvPr>
          <p:cNvSpPr>
            <a:spLocks noGrp="1"/>
          </p:cNvSpPr>
          <p:nvPr>
            <p:ph type="body" sz="quarter" idx="32" hasCustomPrompt="1"/>
          </p:nvPr>
        </p:nvSpPr>
        <p:spPr bwMode="gray">
          <a:xfrm>
            <a:off x="4315624"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51" name="Text Placeholder 50">
            <a:extLst>
              <a:ext uri="{FF2B5EF4-FFF2-40B4-BE49-F238E27FC236}">
                <a16:creationId xmlns:a16="http://schemas.microsoft.com/office/drawing/2014/main" id="{D0AFD85D-1D42-4716-8250-03DF14EB5C64}"/>
              </a:ext>
            </a:extLst>
          </p:cNvPr>
          <p:cNvSpPr>
            <a:spLocks noGrp="1"/>
          </p:cNvSpPr>
          <p:nvPr>
            <p:ph type="body" sz="quarter" idx="33" hasCustomPrompt="1"/>
          </p:nvPr>
        </p:nvSpPr>
        <p:spPr bwMode="gray">
          <a:xfrm>
            <a:off x="6248966"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53" name="Text Placeholder 52">
            <a:extLst>
              <a:ext uri="{FF2B5EF4-FFF2-40B4-BE49-F238E27FC236}">
                <a16:creationId xmlns:a16="http://schemas.microsoft.com/office/drawing/2014/main" id="{714A942C-5853-4E46-9236-C9478A282F9D}"/>
              </a:ext>
            </a:extLst>
          </p:cNvPr>
          <p:cNvSpPr>
            <a:spLocks noGrp="1"/>
          </p:cNvSpPr>
          <p:nvPr>
            <p:ph type="body" sz="quarter" idx="34" hasCustomPrompt="1"/>
          </p:nvPr>
        </p:nvSpPr>
        <p:spPr bwMode="gray">
          <a:xfrm>
            <a:off x="8160585"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55" name="Text Placeholder 54">
            <a:extLst>
              <a:ext uri="{FF2B5EF4-FFF2-40B4-BE49-F238E27FC236}">
                <a16:creationId xmlns:a16="http://schemas.microsoft.com/office/drawing/2014/main" id="{2A57B83C-8ADF-4978-B760-96F6DC4BADDD}"/>
              </a:ext>
            </a:extLst>
          </p:cNvPr>
          <p:cNvSpPr>
            <a:spLocks noGrp="1"/>
          </p:cNvSpPr>
          <p:nvPr>
            <p:ph type="body" sz="quarter" idx="35" hasCustomPrompt="1"/>
          </p:nvPr>
        </p:nvSpPr>
        <p:spPr bwMode="gray">
          <a:xfrm>
            <a:off x="10072173"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Tree>
    <p:extLst>
      <p:ext uri="{BB962C8B-B14F-4D97-AF65-F5344CB8AC3E}">
        <p14:creationId xmlns:p14="http://schemas.microsoft.com/office/powerpoint/2010/main" val="31902448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Project team detail wh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95E38DB-91B2-40CE-9051-3A618A2981BC}"/>
              </a:ext>
            </a:extLst>
          </p:cNvPr>
          <p:cNvGraphicFramePr>
            <a:graphicFrameLocks noChangeAspect="1"/>
          </p:cNvGraphicFramePr>
          <p:nvPr>
            <p:custDataLst>
              <p:tags r:id="rId1"/>
            </p:custDataLst>
            <p:extLst>
              <p:ext uri="{D42A27DB-BD31-4B8C-83A1-F6EECF244321}">
                <p14:modId xmlns:p14="http://schemas.microsoft.com/office/powerpoint/2010/main" val="188918408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95E38DB-91B2-40CE-9051-3A618A2981B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92387" y="1666345"/>
            <a:ext cx="2257817" cy="2266455"/>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3358959" y="1666345"/>
            <a:ext cx="2257817" cy="2266455"/>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6248966" y="1666345"/>
            <a:ext cx="2257817" cy="2266455"/>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9105088" y="1666345"/>
            <a:ext cx="2257817" cy="2266455"/>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92386"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3358959"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6248965"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9105088"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Tree>
    <p:extLst>
      <p:ext uri="{BB962C8B-B14F-4D97-AF65-F5344CB8AC3E}">
        <p14:creationId xmlns:p14="http://schemas.microsoft.com/office/powerpoint/2010/main" val="25562017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Project team detail midnight blu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1CCF50-6F56-4FBE-B1E9-F2F406DC848C}"/>
              </a:ext>
            </a:extLst>
          </p:cNvPr>
          <p:cNvGraphicFramePr>
            <a:graphicFrameLocks noChangeAspect="1"/>
          </p:cNvGraphicFramePr>
          <p:nvPr>
            <p:custDataLst>
              <p:tags r:id="rId1"/>
            </p:custDataLst>
            <p:extLst>
              <p:ext uri="{D42A27DB-BD31-4B8C-83A1-F6EECF244321}">
                <p14:modId xmlns:p14="http://schemas.microsoft.com/office/powerpoint/2010/main" val="352882930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0C1CCF50-6F56-4FBE-B1E9-F2F406DC848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6102B61-3FD9-4595-B1A4-5201FB3E3F62}"/>
              </a:ext>
            </a:extLst>
          </p:cNvPr>
          <p:cNvSpPr/>
          <p:nvPr/>
        </p:nvSpPr>
        <p:spPr bwMode="gray">
          <a:xfrm>
            <a:off x="-1" y="-1"/>
            <a:ext cx="1219200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92387" y="1666345"/>
            <a:ext cx="2257817" cy="2266455"/>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3358959" y="1666345"/>
            <a:ext cx="2257817" cy="2266455"/>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6248966" y="1666345"/>
            <a:ext cx="2257817" cy="2266455"/>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9105088" y="1666345"/>
            <a:ext cx="2257817" cy="2266455"/>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92386"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3358959"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6248965"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9105088"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grpSp>
        <p:nvGrpSpPr>
          <p:cNvPr id="14" name="Group 13">
            <a:extLst>
              <a:ext uri="{FF2B5EF4-FFF2-40B4-BE49-F238E27FC236}">
                <a16:creationId xmlns:a16="http://schemas.microsoft.com/office/drawing/2014/main" id="{1505DF7A-0262-4A1A-91C1-0F1C3E401125}"/>
              </a:ext>
            </a:extLst>
          </p:cNvPr>
          <p:cNvGrpSpPr/>
          <p:nvPr/>
        </p:nvGrpSpPr>
        <p:grpSpPr bwMode="gray">
          <a:xfrm>
            <a:off x="500531" y="6090685"/>
            <a:ext cx="1226443" cy="298486"/>
            <a:chOff x="438942" y="5320889"/>
            <a:chExt cx="1075533" cy="260761"/>
          </a:xfrm>
          <a:solidFill>
            <a:schemeClr val="bg2"/>
          </a:solidFill>
        </p:grpSpPr>
        <p:sp>
          <p:nvSpPr>
            <p:cNvPr id="16" name="Graphic 12">
              <a:extLst>
                <a:ext uri="{FF2B5EF4-FFF2-40B4-BE49-F238E27FC236}">
                  <a16:creationId xmlns:a16="http://schemas.microsoft.com/office/drawing/2014/main" id="{C927760B-C4E0-4B20-962C-98B3CA39BB7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17" name="Graphic 12">
              <a:extLst>
                <a:ext uri="{FF2B5EF4-FFF2-40B4-BE49-F238E27FC236}">
                  <a16:creationId xmlns:a16="http://schemas.microsoft.com/office/drawing/2014/main" id="{343034A7-0B4E-44E0-8724-0CB98CE95DB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Tree>
    <p:extLst>
      <p:ext uri="{BB962C8B-B14F-4D97-AF65-F5344CB8AC3E}">
        <p14:creationId xmlns:p14="http://schemas.microsoft.com/office/powerpoint/2010/main" val="9510108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ntact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0AF9130-FD7A-420B-9E47-D7D697F50DC5}"/>
              </a:ext>
            </a:extLst>
          </p:cNvPr>
          <p:cNvGraphicFramePr>
            <a:graphicFrameLocks noChangeAspect="1"/>
          </p:cNvGraphicFramePr>
          <p:nvPr>
            <p:custDataLst>
              <p:tags r:id="rId1"/>
            </p:custDataLst>
            <p:extLst>
              <p:ext uri="{D42A27DB-BD31-4B8C-83A1-F6EECF244321}">
                <p14:modId xmlns:p14="http://schemas.microsoft.com/office/powerpoint/2010/main" val="239889510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0AF9130-FD7A-420B-9E47-D7D697F50DC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FDA90629-8464-4D7B-BB84-4E025F2850E7}"/>
              </a:ext>
            </a:extLst>
          </p:cNvPr>
          <p:cNvSpPr>
            <a:spLocks noGrp="1"/>
          </p:cNvSpPr>
          <p:nvPr>
            <p:ph type="pic" sz="quarter" idx="16" hasCustomPrompt="1"/>
          </p:nvPr>
        </p:nvSpPr>
        <p:spPr bwMode="gray">
          <a:xfrm>
            <a:off x="6095095" y="1"/>
            <a:ext cx="6102335" cy="6858000"/>
          </a:xfrm>
          <a:solidFill>
            <a:schemeClr val="bg1"/>
          </a:solidFill>
        </p:spPr>
        <p:txBody>
          <a:bodyPr/>
          <a:lstStyle>
            <a:lvl1pPr rtl="0">
              <a:defRPr/>
            </a:lvl1pPr>
          </a:lstStyle>
          <a:p>
            <a:r>
              <a:rPr lang="en-US"/>
              <a:t> </a:t>
            </a:r>
          </a:p>
        </p:txBody>
      </p:sp>
      <p:sp>
        <p:nvSpPr>
          <p:cNvPr id="14" name="Rectangle 13">
            <a:extLst>
              <a:ext uri="{FF2B5EF4-FFF2-40B4-BE49-F238E27FC236}">
                <a16:creationId xmlns:a16="http://schemas.microsoft.com/office/drawing/2014/main" id="{3C3527BF-52D3-47EA-BFEE-7216A7E836EC}"/>
              </a:ext>
            </a:extLst>
          </p:cNvPr>
          <p:cNvSpPr/>
          <p:nvPr/>
        </p:nvSpPr>
        <p:spPr bwMode="gray">
          <a:xfrm>
            <a:off x="-904" y="-1"/>
            <a:ext cx="6095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92387" y="496088"/>
            <a:ext cx="4493028" cy="628128"/>
          </a:xfrm>
        </p:spPr>
        <p:txBody>
          <a:bodyPr vert="horz"/>
          <a:lstStyle>
            <a:lvl1pPr rtl="0">
              <a:defRPr>
                <a:solidFill>
                  <a:schemeClr val="bg2"/>
                </a:solidFill>
              </a:defRPr>
            </a:lvl1pPr>
          </a:lstStyle>
          <a:p>
            <a:r>
              <a:rPr lang="en-US"/>
              <a:t>Contact</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92387" y="1666346"/>
            <a:ext cx="4493028" cy="1386500"/>
          </a:xfrm>
        </p:spPr>
        <p:txBody>
          <a:bodyPr/>
          <a:lstStyle>
            <a:lvl1pPr rtl="0">
              <a:lnSpc>
                <a:spcPct val="110000"/>
              </a:lnSpc>
              <a:spcBef>
                <a:spcPts val="0"/>
              </a:spcBef>
              <a:defRPr sz="4105">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92387" y="3096457"/>
            <a:ext cx="4493028" cy="986304"/>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92386" y="4354901"/>
            <a:ext cx="4493028" cy="1432786"/>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pic>
        <p:nvPicPr>
          <p:cNvPr id="6" name="Picture 2" descr="Unite_Mercateo_logo landscape_white_RGB@5x">
            <a:extLst>
              <a:ext uri="{FF2B5EF4-FFF2-40B4-BE49-F238E27FC236}">
                <a16:creationId xmlns:a16="http://schemas.microsoft.com/office/drawing/2014/main" id="{6E80EB74-D488-4044-BDFA-03ADA2CF726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2386" y="6107328"/>
            <a:ext cx="2362401" cy="628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62754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act 2">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54E09DD-AA06-45A2-AD83-6234B0A08454}"/>
              </a:ext>
            </a:extLst>
          </p:cNvPr>
          <p:cNvGraphicFramePr>
            <a:graphicFrameLocks noChangeAspect="1"/>
          </p:cNvGraphicFramePr>
          <p:nvPr>
            <p:custDataLst>
              <p:tags r:id="rId1"/>
            </p:custDataLst>
            <p:extLst>
              <p:ext uri="{D42A27DB-BD31-4B8C-83A1-F6EECF244321}">
                <p14:modId xmlns:p14="http://schemas.microsoft.com/office/powerpoint/2010/main" val="217651745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54E09DD-AA06-45A2-AD83-6234B0A0845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857013" y="496089"/>
            <a:ext cx="5839930" cy="5865247"/>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7" y="496088"/>
            <a:ext cx="4493028"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5" name="Text Placeholder 4">
            <a:extLst>
              <a:ext uri="{FF2B5EF4-FFF2-40B4-BE49-F238E27FC236}">
                <a16:creationId xmlns:a16="http://schemas.microsoft.com/office/drawing/2014/main" id="{F256B424-98FB-4DC6-874A-A3FD870F9D27}"/>
              </a:ext>
            </a:extLst>
          </p:cNvPr>
          <p:cNvSpPr>
            <a:spLocks noGrp="1"/>
          </p:cNvSpPr>
          <p:nvPr>
            <p:ph type="body" sz="quarter" idx="16"/>
          </p:nvPr>
        </p:nvSpPr>
        <p:spPr bwMode="gray">
          <a:xfrm>
            <a:off x="492387" y="1666345"/>
            <a:ext cx="4493028" cy="4121342"/>
          </a:xfrm>
        </p:spPr>
        <p:txBody>
          <a:bodyPr/>
          <a:lstStyle>
            <a:lvl1pPr rtl="0">
              <a:defRPr b="1"/>
            </a:lvl1pPr>
            <a:lvl2pPr marL="0" indent="0" rtl="0">
              <a:buFont typeface="Arial" panose="020B0604020202020204" pitchFamily="34" charset="0"/>
              <a:buNone/>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925777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ntact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E570FC6-DF80-4B9C-82D1-DA8F33D2CA04}"/>
              </a:ext>
            </a:extLst>
          </p:cNvPr>
          <p:cNvGraphicFramePr>
            <a:graphicFrameLocks noChangeAspect="1"/>
          </p:cNvGraphicFramePr>
          <p:nvPr>
            <p:custDataLst>
              <p:tags r:id="rId1"/>
            </p:custDataLst>
            <p:extLst>
              <p:ext uri="{D42A27DB-BD31-4B8C-83A1-F6EECF244321}">
                <p14:modId xmlns:p14="http://schemas.microsoft.com/office/powerpoint/2010/main" val="140598671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9E570FC6-DF80-4B9C-82D1-DA8F33D2CA0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C3527BF-52D3-47EA-BFEE-7216A7E836EC}"/>
              </a:ext>
            </a:extLst>
          </p:cNvPr>
          <p:cNvSpPr/>
          <p:nvPr/>
        </p:nvSpPr>
        <p:spPr bwMode="gray">
          <a:xfrm>
            <a:off x="-1" y="-1"/>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92388" y="496088"/>
            <a:ext cx="4493027" cy="628128"/>
          </a:xfrm>
        </p:spPr>
        <p:txBody>
          <a:bodyPr vert="horz"/>
          <a:lstStyle>
            <a:lvl1pPr rtl="0">
              <a:defRPr>
                <a:solidFill>
                  <a:schemeClr val="bg2"/>
                </a:solidFill>
              </a:defRPr>
            </a:lvl1pPr>
          </a:lstStyle>
          <a:p>
            <a:r>
              <a:rPr lang="en-US"/>
              <a:t>Contact</a:t>
            </a:r>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92387" y="1666346"/>
            <a:ext cx="4493028" cy="1386500"/>
          </a:xfrm>
        </p:spPr>
        <p:txBody>
          <a:bodyPr/>
          <a:lstStyle>
            <a:lvl1pPr rtl="0">
              <a:lnSpc>
                <a:spcPct val="110000"/>
              </a:lnSpc>
              <a:spcBef>
                <a:spcPts val="0"/>
              </a:spcBef>
              <a:defRPr sz="4105">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92387" y="3096457"/>
            <a:ext cx="4493028" cy="986304"/>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92386" y="4354901"/>
            <a:ext cx="4493028" cy="1432786"/>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20" name="Picture Placeholder 19">
            <a:extLst>
              <a:ext uri="{FF2B5EF4-FFF2-40B4-BE49-F238E27FC236}">
                <a16:creationId xmlns:a16="http://schemas.microsoft.com/office/drawing/2014/main" id="{9E03B23D-F03A-43EA-A248-420E2458F7B2}"/>
              </a:ext>
            </a:extLst>
          </p:cNvPr>
          <p:cNvSpPr>
            <a:spLocks noGrp="1"/>
          </p:cNvSpPr>
          <p:nvPr>
            <p:ph type="pic" sz="quarter" idx="16" hasCustomPrompt="1"/>
          </p:nvPr>
        </p:nvSpPr>
        <p:spPr bwMode="gray">
          <a:xfrm>
            <a:off x="5857013" y="496090"/>
            <a:ext cx="5839930" cy="5865247"/>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pic>
        <p:nvPicPr>
          <p:cNvPr id="6" name="Picture 2" descr="Unite_Mercateo_logo landscape_white_RGB@5x">
            <a:extLst>
              <a:ext uri="{FF2B5EF4-FFF2-40B4-BE49-F238E27FC236}">
                <a16:creationId xmlns:a16="http://schemas.microsoft.com/office/drawing/2014/main" id="{E8616F60-BAE1-E4DA-F286-D934B75F527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2386" y="6107328"/>
            <a:ext cx="2362401" cy="628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958672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Last slide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C1924E-0FEA-4439-A585-CA2C49BC730A}"/>
              </a:ext>
            </a:extLst>
          </p:cNvPr>
          <p:cNvGraphicFramePr>
            <a:graphicFrameLocks noChangeAspect="1"/>
          </p:cNvGraphicFramePr>
          <p:nvPr>
            <p:custDataLst>
              <p:tags r:id="rId1"/>
            </p:custDataLst>
            <p:extLst>
              <p:ext uri="{D42A27DB-BD31-4B8C-83A1-F6EECF244321}">
                <p14:modId xmlns:p14="http://schemas.microsoft.com/office/powerpoint/2010/main" val="50045741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BFC1924E-0FEA-4439-A585-CA2C49BC730A}"/>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6248966" y="3267272"/>
            <a:ext cx="1625600" cy="664460"/>
          </a:xfrm>
        </p:spPr>
        <p:txBody>
          <a:bodyPr>
            <a:noAutofit/>
          </a:bodyPr>
          <a:lstStyle>
            <a:lvl1pPr rtl="0">
              <a:lnSpc>
                <a:spcPct val="120000"/>
              </a:lnSpc>
              <a:defRPr sz="912" b="1">
                <a:solidFill>
                  <a:schemeClr val="tx2"/>
                </a:solidFill>
              </a:defRPr>
            </a:lvl1pPr>
            <a:lvl2pPr marL="0" indent="0" rtl="0">
              <a:lnSpc>
                <a:spcPct val="120000"/>
              </a:lnSpc>
              <a:spcBef>
                <a:spcPts val="0"/>
              </a:spcBef>
              <a:buFont typeface="Arial" panose="020B0604020202020204" pitchFamily="34" charset="0"/>
              <a:buNone/>
              <a:defRPr sz="912">
                <a:solidFill>
                  <a:schemeClr val="tx2"/>
                </a:solidFill>
              </a:defRPr>
            </a:lvl2pPr>
            <a:lvl3pPr>
              <a:defRPr sz="912"/>
            </a:lvl3pPr>
            <a:lvl4pPr>
              <a:defRPr sz="912"/>
            </a:lvl4pPr>
            <a:lvl5pPr>
              <a:defRPr sz="912"/>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6248966" y="4132244"/>
            <a:ext cx="1625600" cy="664460"/>
          </a:xfrm>
        </p:spPr>
        <p:txBody>
          <a:bodyPr>
            <a:noAutofit/>
          </a:bodyPr>
          <a:lstStyle>
            <a:lvl1pPr rtl="0">
              <a:lnSpc>
                <a:spcPct val="120000"/>
              </a:lnSpc>
              <a:defRPr sz="912" b="1">
                <a:solidFill>
                  <a:schemeClr val="tx2"/>
                </a:solidFill>
              </a:defRPr>
            </a:lvl1pPr>
            <a:lvl2pPr marL="0" indent="0" rtl="0">
              <a:lnSpc>
                <a:spcPct val="120000"/>
              </a:lnSpc>
              <a:spcBef>
                <a:spcPts val="0"/>
              </a:spcBef>
              <a:buFont typeface="Arial" panose="020B0604020202020204" pitchFamily="34" charset="0"/>
              <a:buNone/>
              <a:defRPr sz="912">
                <a:solidFill>
                  <a:schemeClr val="tx2"/>
                </a:solidFill>
              </a:defRPr>
            </a:lvl2pPr>
            <a:lvl3pPr>
              <a:defRPr sz="912"/>
            </a:lvl3pPr>
            <a:lvl4pPr>
              <a:defRPr sz="912"/>
            </a:lvl4pPr>
            <a:lvl5pPr>
              <a:defRPr sz="912"/>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6248965" y="6225626"/>
            <a:ext cx="1911619" cy="136288"/>
          </a:xfrm>
        </p:spPr>
        <p:txBody>
          <a:bodyPr/>
          <a:lstStyle>
            <a:lvl1pPr rtl="0">
              <a:defRPr sz="912">
                <a:solidFill>
                  <a:schemeClr val="tx2"/>
                </a:solidFill>
              </a:defRPr>
            </a:lvl1pPr>
            <a:lvl2pPr>
              <a:defRPr sz="912"/>
            </a:lvl2pPr>
            <a:lvl3pPr>
              <a:defRPr sz="912"/>
            </a:lvl3pPr>
            <a:lvl4pPr>
              <a:defRPr sz="912"/>
            </a:lvl4pPr>
            <a:lvl5pPr>
              <a:defRPr sz="912"/>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9116394" y="3261820"/>
            <a:ext cx="2581409" cy="3114630"/>
          </a:xfrm>
        </p:spPr>
        <p:txBody>
          <a:bodyPr>
            <a:noAutofit/>
          </a:bodyPr>
          <a:lstStyle>
            <a:lvl1pPr rtl="0">
              <a:lnSpc>
                <a:spcPct val="120000"/>
              </a:lnSpc>
              <a:defRPr sz="912" b="1">
                <a:solidFill>
                  <a:schemeClr val="tx2"/>
                </a:solidFill>
              </a:defRPr>
            </a:lvl1pPr>
            <a:lvl2pPr marL="0" indent="0" rtl="0">
              <a:lnSpc>
                <a:spcPct val="120000"/>
              </a:lnSpc>
              <a:spcBef>
                <a:spcPts val="1368"/>
              </a:spcBef>
              <a:buFont typeface="Arial" panose="020B0604020202020204" pitchFamily="34" charset="0"/>
              <a:buNone/>
              <a:defRPr sz="912">
                <a:solidFill>
                  <a:schemeClr val="tx2"/>
                </a:solidFill>
              </a:defRPr>
            </a:lvl2pPr>
          </a:lstStyle>
          <a:p>
            <a:pPr lvl="0"/>
            <a:r>
              <a:rPr lang="en-US"/>
              <a:t>Unite.eu is Europe’s supplier-neutral </a:t>
            </a:r>
            <a:br>
              <a:rPr lang="en-US"/>
            </a:br>
            <a:r>
              <a:rPr lang="en-US"/>
              <a:t>B2B networking platform from </a:t>
            </a:r>
            <a:r>
              <a:rPr lang="en-US" err="1"/>
              <a:t>Mercateo</a:t>
            </a:r>
            <a:r>
              <a:rPr lang="en-US"/>
              <a:t>. </a:t>
            </a:r>
          </a:p>
          <a:p>
            <a:pPr lvl="1"/>
            <a:r>
              <a:rPr lang="en-US"/>
              <a:t>Purchasers, retailers, manufacturers and service providers use this infrastructure </a:t>
            </a:r>
            <a:br>
              <a:rPr lang="en-US"/>
            </a:br>
            <a:r>
              <a:rPr lang="en-US"/>
              <a:t>for cooperation and digital transactions, regardless of their previous degree of </a:t>
            </a:r>
            <a:r>
              <a:rPr lang="en-US" err="1"/>
              <a:t>digitisation</a:t>
            </a:r>
            <a:r>
              <a:rPr lang="en-US"/>
              <a:t>. With new digital collaboration models manufacturers and specialist retailers resolve channel conflicts within multi-stage B2B sales and thus meet the expectations of the customers with regard to modern purchasing processes and service. Besides the networking platform Unite.eu, which positions itself neutrally between suppliers and purchasers in the B2B field, </a:t>
            </a:r>
            <a:r>
              <a:rPr lang="en-US" err="1"/>
              <a:t>Mercateo</a:t>
            </a:r>
            <a:r>
              <a:rPr lang="en-US"/>
              <a:t> has </a:t>
            </a:r>
            <a:br>
              <a:rPr lang="en-US"/>
            </a:br>
            <a:r>
              <a:rPr lang="en-US"/>
              <a:t>been operating Europe’s largest B2B marketplace since 2000.</a:t>
            </a:r>
          </a:p>
        </p:txBody>
      </p:sp>
      <p:grpSp>
        <p:nvGrpSpPr>
          <p:cNvPr id="3" name="Gruppieren 2">
            <a:extLst>
              <a:ext uri="{FF2B5EF4-FFF2-40B4-BE49-F238E27FC236}">
                <a16:creationId xmlns:a16="http://schemas.microsoft.com/office/drawing/2014/main" id="{DDC5191F-FB7A-4C39-8717-4C1C19DD2CEB}"/>
              </a:ext>
            </a:extLst>
          </p:cNvPr>
          <p:cNvGrpSpPr/>
          <p:nvPr/>
        </p:nvGrpSpPr>
        <p:grpSpPr>
          <a:xfrm>
            <a:off x="492387" y="3275147"/>
            <a:ext cx="2581409" cy="628252"/>
            <a:chOff x="431800" y="2861205"/>
            <a:chExt cx="2263775" cy="548848"/>
          </a:xfrm>
        </p:grpSpPr>
        <p:sp>
          <p:nvSpPr>
            <p:cNvPr id="24" name="Graphic 12">
              <a:extLst>
                <a:ext uri="{FF2B5EF4-FFF2-40B4-BE49-F238E27FC236}">
                  <a16:creationId xmlns:a16="http://schemas.microsoft.com/office/drawing/2014/main" id="{C7F69AB8-F31E-4516-8520-C31FB68BCF69}"/>
                </a:ext>
              </a:extLst>
            </p:cNvPr>
            <p:cNvSpPr/>
            <p:nvPr/>
          </p:nvSpPr>
          <p:spPr bwMode="gray">
            <a:xfrm>
              <a:off x="431800" y="2897508"/>
              <a:ext cx="1474267" cy="475117"/>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solidFill>
              <a:schemeClr val="tx1"/>
            </a:solidFill>
            <a:ln w="9525" cap="flat">
              <a:noFill/>
              <a:prstDash val="solid"/>
              <a:miter/>
            </a:ln>
          </p:spPr>
          <p:txBody>
            <a:bodyPr rtlCol="0" anchor="ctr"/>
            <a:lstStyle/>
            <a:p>
              <a:pPr rtl="0"/>
              <a:endParaRPr lang="en-US" sz="2395"/>
            </a:p>
          </p:txBody>
        </p:sp>
        <p:sp>
          <p:nvSpPr>
            <p:cNvPr id="25" name="Graphic 12">
              <a:extLst>
                <a:ext uri="{FF2B5EF4-FFF2-40B4-BE49-F238E27FC236}">
                  <a16:creationId xmlns:a16="http://schemas.microsoft.com/office/drawing/2014/main" id="{D4BB5A2E-92BD-4080-B113-8AA1F462904C}"/>
                </a:ext>
              </a:extLst>
            </p:cNvPr>
            <p:cNvSpPr/>
            <p:nvPr/>
          </p:nvSpPr>
          <p:spPr bwMode="gray">
            <a:xfrm>
              <a:off x="2146727" y="2861205"/>
              <a:ext cx="548848" cy="548848"/>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adFill flip="none" rotWithShape="1">
              <a:gsLst>
                <a:gs pos="20000">
                  <a:schemeClr val="tx1"/>
                </a:gs>
                <a:gs pos="80000">
                  <a:schemeClr val="accent2"/>
                </a:gs>
              </a:gsLst>
              <a:lin ang="18600000" scaled="0"/>
              <a:tileRect/>
            </a:gradFill>
            <a:ln w="9525" cap="flat">
              <a:noFill/>
              <a:prstDash val="solid"/>
              <a:miter/>
            </a:ln>
          </p:spPr>
          <p:txBody>
            <a:bodyPr rtlCol="0" anchor="ctr"/>
            <a:lstStyle/>
            <a:p>
              <a:pPr lvl="0"/>
              <a:endParaRPr lang="en-US" sz="2395"/>
            </a:p>
          </p:txBody>
        </p:sp>
      </p:grpSp>
    </p:spTree>
    <p:extLst>
      <p:ext uri="{BB962C8B-B14F-4D97-AF65-F5344CB8AC3E}">
        <p14:creationId xmlns:p14="http://schemas.microsoft.com/office/powerpoint/2010/main" val="406328716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Last slide gradi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F01238-40E9-4AF3-8847-0BB474C12FF7}"/>
              </a:ext>
            </a:extLst>
          </p:cNvPr>
          <p:cNvGraphicFramePr>
            <a:graphicFrameLocks noChangeAspect="1"/>
          </p:cNvGraphicFramePr>
          <p:nvPr>
            <p:custDataLst>
              <p:tags r:id="rId1"/>
            </p:custDataLst>
            <p:extLst>
              <p:ext uri="{D42A27DB-BD31-4B8C-83A1-F6EECF244321}">
                <p14:modId xmlns:p14="http://schemas.microsoft.com/office/powerpoint/2010/main" val="226254906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ADF01238-40E9-4AF3-8847-0BB474C12FF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B8AF001-5F18-4323-A310-1CEF30EBA9A2}"/>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grpSp>
        <p:nvGrpSpPr>
          <p:cNvPr id="7" name="Group 6">
            <a:extLst>
              <a:ext uri="{FF2B5EF4-FFF2-40B4-BE49-F238E27FC236}">
                <a16:creationId xmlns:a16="http://schemas.microsoft.com/office/drawing/2014/main" id="{35E557C2-CA1E-42D5-A461-F55E5250DB20}"/>
              </a:ext>
            </a:extLst>
          </p:cNvPr>
          <p:cNvGrpSpPr/>
          <p:nvPr/>
        </p:nvGrpSpPr>
        <p:grpSpPr bwMode="gray">
          <a:xfrm>
            <a:off x="492387" y="3275148"/>
            <a:ext cx="2581409" cy="628251"/>
            <a:chOff x="438942" y="5320889"/>
            <a:chExt cx="1075533" cy="260761"/>
          </a:xfrm>
          <a:solidFill>
            <a:schemeClr val="bg2"/>
          </a:solidFill>
        </p:grpSpPr>
        <p:sp>
          <p:nvSpPr>
            <p:cNvPr id="8" name="Graphic 12">
              <a:extLst>
                <a:ext uri="{FF2B5EF4-FFF2-40B4-BE49-F238E27FC236}">
                  <a16:creationId xmlns:a16="http://schemas.microsoft.com/office/drawing/2014/main" id="{8B77BDFF-983E-4593-80C5-9B4D597358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9" name="Graphic 12">
              <a:extLst>
                <a:ext uri="{FF2B5EF4-FFF2-40B4-BE49-F238E27FC236}">
                  <a16:creationId xmlns:a16="http://schemas.microsoft.com/office/drawing/2014/main" id="{ECC4C823-851B-4F0B-9EB9-65D80A572B2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6248966" y="3267272"/>
            <a:ext cx="1625600" cy="664460"/>
          </a:xfrm>
        </p:spPr>
        <p:txBody>
          <a:bodyPr>
            <a:noAutofit/>
          </a:bodyPr>
          <a:lstStyle>
            <a:lvl1pPr rtl="0">
              <a:lnSpc>
                <a:spcPct val="120000"/>
              </a:lnSpc>
              <a:defRPr sz="912" b="1">
                <a:solidFill>
                  <a:schemeClr val="bg2"/>
                </a:solidFill>
              </a:defRPr>
            </a:lvl1pPr>
            <a:lvl2pPr marL="0" indent="0" rtl="0">
              <a:lnSpc>
                <a:spcPct val="120000"/>
              </a:lnSpc>
              <a:spcBef>
                <a:spcPts val="0"/>
              </a:spcBef>
              <a:buFont typeface="Arial" panose="020B0604020202020204" pitchFamily="34" charset="0"/>
              <a:buNone/>
              <a:defRPr sz="912">
                <a:solidFill>
                  <a:schemeClr val="bg2"/>
                </a:solidFill>
              </a:defRPr>
            </a:lvl2pPr>
            <a:lvl3pPr>
              <a:defRPr sz="912"/>
            </a:lvl3pPr>
            <a:lvl4pPr>
              <a:defRPr sz="912"/>
            </a:lvl4pPr>
            <a:lvl5pPr>
              <a:defRPr sz="912"/>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6248966" y="4132244"/>
            <a:ext cx="1625600" cy="664460"/>
          </a:xfrm>
        </p:spPr>
        <p:txBody>
          <a:bodyPr>
            <a:noAutofit/>
          </a:bodyPr>
          <a:lstStyle>
            <a:lvl1pPr rtl="0">
              <a:lnSpc>
                <a:spcPct val="120000"/>
              </a:lnSpc>
              <a:defRPr sz="912" b="1">
                <a:solidFill>
                  <a:schemeClr val="bg2"/>
                </a:solidFill>
              </a:defRPr>
            </a:lvl1pPr>
            <a:lvl2pPr marL="0" indent="0" rtl="0">
              <a:lnSpc>
                <a:spcPct val="120000"/>
              </a:lnSpc>
              <a:spcBef>
                <a:spcPts val="0"/>
              </a:spcBef>
              <a:buFont typeface="Arial" panose="020B0604020202020204" pitchFamily="34" charset="0"/>
              <a:buNone/>
              <a:defRPr sz="912">
                <a:solidFill>
                  <a:schemeClr val="bg2"/>
                </a:solidFill>
              </a:defRPr>
            </a:lvl2pPr>
            <a:lvl3pPr>
              <a:defRPr sz="912"/>
            </a:lvl3pPr>
            <a:lvl4pPr>
              <a:defRPr sz="912"/>
            </a:lvl4pPr>
            <a:lvl5pPr>
              <a:defRPr sz="912"/>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6248965" y="6225626"/>
            <a:ext cx="1911619" cy="136288"/>
          </a:xfrm>
        </p:spPr>
        <p:txBody>
          <a:bodyPr/>
          <a:lstStyle>
            <a:lvl1pPr rtl="0">
              <a:defRPr sz="912">
                <a:solidFill>
                  <a:schemeClr val="bg2"/>
                </a:solidFill>
              </a:defRPr>
            </a:lvl1pPr>
            <a:lvl2pPr>
              <a:defRPr sz="912"/>
            </a:lvl2pPr>
            <a:lvl3pPr>
              <a:defRPr sz="912"/>
            </a:lvl3pPr>
            <a:lvl4pPr>
              <a:defRPr sz="912"/>
            </a:lvl4pPr>
            <a:lvl5pPr>
              <a:defRPr sz="912"/>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9116394" y="3261820"/>
            <a:ext cx="2581409" cy="3114630"/>
          </a:xfrm>
        </p:spPr>
        <p:txBody>
          <a:bodyPr>
            <a:noAutofit/>
          </a:bodyPr>
          <a:lstStyle>
            <a:lvl1pPr rtl="0">
              <a:lnSpc>
                <a:spcPct val="120000"/>
              </a:lnSpc>
              <a:defRPr sz="912" b="1">
                <a:solidFill>
                  <a:schemeClr val="bg2"/>
                </a:solidFill>
              </a:defRPr>
            </a:lvl1pPr>
            <a:lvl2pPr marL="0" indent="0" rtl="0">
              <a:lnSpc>
                <a:spcPct val="120000"/>
              </a:lnSpc>
              <a:spcBef>
                <a:spcPts val="1368"/>
              </a:spcBef>
              <a:buFont typeface="Arial" panose="020B0604020202020204" pitchFamily="34" charset="0"/>
              <a:buNone/>
              <a:defRPr sz="912">
                <a:solidFill>
                  <a:schemeClr val="bg2"/>
                </a:solidFill>
              </a:defRPr>
            </a:lvl2pPr>
          </a:lstStyle>
          <a:p>
            <a:pPr lvl="0"/>
            <a:r>
              <a:rPr lang="en-US"/>
              <a:t>Unite.eu is Europe’s supplier-neutral </a:t>
            </a:r>
            <a:br>
              <a:rPr lang="en-US"/>
            </a:br>
            <a:r>
              <a:rPr lang="en-US"/>
              <a:t>B2B networking platform from </a:t>
            </a:r>
            <a:r>
              <a:rPr lang="en-US" err="1"/>
              <a:t>Mercateo</a:t>
            </a:r>
            <a:r>
              <a:rPr lang="en-US"/>
              <a:t>. </a:t>
            </a:r>
          </a:p>
          <a:p>
            <a:pPr lvl="1"/>
            <a:r>
              <a:rPr lang="en-US"/>
              <a:t>Purchasers, retailers, manufacturers and service providers use this infrastructure </a:t>
            </a:r>
            <a:br>
              <a:rPr lang="en-US"/>
            </a:br>
            <a:r>
              <a:rPr lang="en-US"/>
              <a:t>for cooperation and digital transactions, regardless of their previous degree of </a:t>
            </a:r>
            <a:r>
              <a:rPr lang="en-US" err="1"/>
              <a:t>digitisation</a:t>
            </a:r>
            <a:r>
              <a:rPr lang="en-US"/>
              <a:t>. With new digital collaboration models manufacturers and specialist retailers resolve channel conflicts within multi-stage B2B sales and thus meet the expectations of the customers with regard to modern purchasing processes and service. Besides the networking platform Unite.eu, which positions itself neutrally between suppliers and purchasers in the B2B field, </a:t>
            </a:r>
            <a:r>
              <a:rPr lang="en-US" err="1"/>
              <a:t>Mercateo</a:t>
            </a:r>
            <a:r>
              <a:rPr lang="en-US"/>
              <a:t> has </a:t>
            </a:r>
            <a:br>
              <a:rPr lang="en-US"/>
            </a:br>
            <a:r>
              <a:rPr lang="en-US"/>
              <a:t>been operating Europe’s largest B2B marketplace since 2000.</a:t>
            </a:r>
          </a:p>
        </p:txBody>
      </p:sp>
    </p:spTree>
    <p:extLst>
      <p:ext uri="{BB962C8B-B14F-4D97-AF65-F5344CB8AC3E}">
        <p14:creationId xmlns:p14="http://schemas.microsoft.com/office/powerpoint/2010/main" val="1873467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Statement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B3D9B7-C3C9-4EB3-8BC3-AA1D0521EF27}"/>
              </a:ext>
            </a:extLst>
          </p:cNvPr>
          <p:cNvGraphicFramePr>
            <a:graphicFrameLocks noChangeAspect="1"/>
          </p:cNvGraphicFramePr>
          <p:nvPr>
            <p:custDataLst>
              <p:tags r:id="rId1"/>
            </p:custDataLst>
            <p:extLst>
              <p:ext uri="{D42A27DB-BD31-4B8C-83A1-F6EECF244321}">
                <p14:modId xmlns:p14="http://schemas.microsoft.com/office/powerpoint/2010/main" val="247391868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CB3D9B7-C3C9-4EB3-8BC3-AA1D0521EF2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BCB599F0-7356-41FB-BB7B-BE03FABD1913}"/>
              </a:ext>
            </a:extLst>
          </p:cNvPr>
          <p:cNvSpPr>
            <a:spLocks noGrp="1"/>
          </p:cNvSpPr>
          <p:nvPr>
            <p:ph type="pic" sz="quarter" idx="12" hasCustomPrompt="1"/>
          </p:nvPr>
        </p:nvSpPr>
        <p:spPr bwMode="gray">
          <a:xfrm>
            <a:off x="-1" y="-1"/>
            <a:ext cx="12192000"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4485787" cy="2578199"/>
          </a:xfrm>
        </p:spPr>
        <p:txBody>
          <a:bodyPr tIns="36000">
            <a:noAutofit/>
          </a:bodyPr>
          <a:lstStyle>
            <a:lvl1pPr rtl="0">
              <a:lnSpc>
                <a:spcPct val="100000"/>
              </a:lnSpc>
              <a:spcBef>
                <a:spcPts val="0"/>
              </a:spcBef>
              <a:defRPr sz="2737">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pic>
        <p:nvPicPr>
          <p:cNvPr id="3" name="Picture 2" descr="Unite_Mercateo_logo landscape_white_RGB@5x">
            <a:extLst>
              <a:ext uri="{FF2B5EF4-FFF2-40B4-BE49-F238E27FC236}">
                <a16:creationId xmlns:a16="http://schemas.microsoft.com/office/drawing/2014/main" id="{ECC77FCF-E916-1606-0C2B-E4D86A44086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56447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key statement 36pt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F2CA42-65A6-4625-92B9-0FA8353C8746}"/>
              </a:ext>
            </a:extLst>
          </p:cNvPr>
          <p:cNvGraphicFramePr>
            <a:graphicFrameLocks noChangeAspect="1"/>
          </p:cNvGraphicFramePr>
          <p:nvPr>
            <p:custDataLst>
              <p:tags r:id="rId1"/>
            </p:custDataLst>
            <p:extLst>
              <p:ext uri="{D42A27DB-BD31-4B8C-83A1-F6EECF244321}">
                <p14:modId xmlns:p14="http://schemas.microsoft.com/office/powerpoint/2010/main" val="282282508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7F2CA42-65A6-4625-92B9-0FA8353C874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tx2"/>
                </a:solidFill>
              </a:defRPr>
            </a:lvl1pPr>
          </a:lstStyle>
          <a:p>
            <a:fld id="{B052C1DA-1795-4710-A2F6-220293EA01D5}" type="slidenum">
              <a:rPr lang="nl-NL" smtClean="0"/>
              <a:t>‹nr.›</a:t>
            </a:fld>
            <a:endParaRPr lang="nl-NL"/>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92385" y="1666346"/>
            <a:ext cx="11205416" cy="2378097"/>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33520" indent="-233520" rtl="0">
              <a:lnSpc>
                <a:spcPct val="100000"/>
              </a:lnSpc>
              <a:buFont typeface="Poppins Light" panose="00000400000000000000" pitchFamily="2" charset="0"/>
              <a:buChar char="“"/>
              <a:defRPr sz="4105" i="1">
                <a:solidFill>
                  <a:schemeClr val="tx2"/>
                </a:solidFill>
                <a:latin typeface="Poppins Light" panose="00000400000000000000" pitchFamily="2" charset="0"/>
                <a:cs typeface="Poppins Light" panose="00000400000000000000" pitchFamily="2" charset="0"/>
              </a:defRPr>
            </a:lvl1pPr>
            <a:lvl2pPr marL="233520" indent="0" rtl="0">
              <a:lnSpc>
                <a:spcPct val="100000"/>
              </a:lnSpc>
              <a:spcBef>
                <a:spcPts val="1596"/>
              </a:spcBef>
              <a:buFont typeface="Arial" panose="020B0604020202020204" pitchFamily="34" charset="0"/>
              <a:buNone/>
              <a:defRPr sz="912">
                <a:solidFill>
                  <a:schemeClr val="tx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p:nvSpPr>
        <p:spPr bwMode="gray">
          <a:xfrm>
            <a:off x="492384" y="1666346"/>
            <a:ext cx="11205415" cy="2378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Tree>
    <p:extLst>
      <p:ext uri="{BB962C8B-B14F-4D97-AF65-F5344CB8AC3E}">
        <p14:creationId xmlns:p14="http://schemas.microsoft.com/office/powerpoint/2010/main" val="2328298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ement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B3D9B7-C3C9-4EB3-8BC3-AA1D0521EF27}"/>
              </a:ext>
            </a:extLst>
          </p:cNvPr>
          <p:cNvGraphicFramePr>
            <a:graphicFrameLocks noChangeAspect="1"/>
          </p:cNvGraphicFramePr>
          <p:nvPr>
            <p:custDataLst>
              <p:tags r:id="rId1"/>
            </p:custDataLst>
            <p:extLst>
              <p:ext uri="{D42A27DB-BD31-4B8C-83A1-F6EECF244321}">
                <p14:modId xmlns:p14="http://schemas.microsoft.com/office/powerpoint/2010/main" val="247391868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CB3D9B7-C3C9-4EB3-8BC3-AA1D0521EF2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BCB599F0-7356-41FB-BB7B-BE03FABD1913}"/>
              </a:ext>
            </a:extLst>
          </p:cNvPr>
          <p:cNvSpPr>
            <a:spLocks noGrp="1"/>
          </p:cNvSpPr>
          <p:nvPr>
            <p:ph type="pic" sz="quarter" idx="12" hasCustomPrompt="1"/>
          </p:nvPr>
        </p:nvSpPr>
        <p:spPr bwMode="gray">
          <a:xfrm>
            <a:off x="-1" y="-1"/>
            <a:ext cx="12192000"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4485787" cy="2578199"/>
          </a:xfrm>
        </p:spPr>
        <p:txBody>
          <a:bodyPr tIns="36000">
            <a:noAutofit/>
          </a:bodyPr>
          <a:lstStyle>
            <a:lvl1pPr rtl="0">
              <a:lnSpc>
                <a:spcPct val="100000"/>
              </a:lnSpc>
              <a:spcBef>
                <a:spcPts val="0"/>
              </a:spcBef>
              <a:defRPr sz="2737">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pic>
        <p:nvPicPr>
          <p:cNvPr id="3" name="Picture 2" descr="Unite_Mercateo_logo landscape_white_RGB@5x">
            <a:extLst>
              <a:ext uri="{FF2B5EF4-FFF2-40B4-BE49-F238E27FC236}">
                <a16:creationId xmlns:a16="http://schemas.microsoft.com/office/drawing/2014/main" id="{ECC77FCF-E916-1606-0C2B-E4D86A44086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99875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atement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0CF005-A037-4AEC-9FC7-BFB4D97C0E40}"/>
              </a:ext>
            </a:extLst>
          </p:cNvPr>
          <p:cNvGraphicFramePr>
            <a:graphicFrameLocks noChangeAspect="1"/>
          </p:cNvGraphicFramePr>
          <p:nvPr>
            <p:custDataLst>
              <p:tags r:id="rId1"/>
            </p:custDataLst>
            <p:extLst>
              <p:ext uri="{D42A27DB-BD31-4B8C-83A1-F6EECF244321}">
                <p14:modId xmlns:p14="http://schemas.microsoft.com/office/powerpoint/2010/main" val="173046386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0CF005-A037-4AEC-9FC7-BFB4D97C0E4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857013" y="496089"/>
            <a:ext cx="5839930" cy="5865247"/>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B052C1DA-1795-4710-A2F6-220293EA01D5}" type="slidenum">
              <a:rPr lang="nl-NL" smtClean="0"/>
              <a:t>‹nr.›</a:t>
            </a:fld>
            <a:endParaRPr lang="nl-NL"/>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4485787" cy="2578199"/>
          </a:xfrm>
        </p:spPr>
        <p:txBody>
          <a:bodyPr tIns="36000">
            <a:noAutofit/>
          </a:bodyPr>
          <a:lstStyle>
            <a:lvl1pPr rtl="0">
              <a:lnSpc>
                <a:spcPct val="100000"/>
              </a:lnSpc>
              <a:defRPr sz="2737">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3297593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atement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B767E7-4D99-43CF-B261-15DD1B1C5F37}"/>
              </a:ext>
            </a:extLst>
          </p:cNvPr>
          <p:cNvGraphicFramePr>
            <a:graphicFrameLocks noChangeAspect="1"/>
          </p:cNvGraphicFramePr>
          <p:nvPr>
            <p:custDataLst>
              <p:tags r:id="rId1"/>
            </p:custDataLst>
            <p:extLst>
              <p:ext uri="{D42A27DB-BD31-4B8C-83A1-F6EECF244321}">
                <p14:modId xmlns:p14="http://schemas.microsoft.com/office/powerpoint/2010/main" val="287237543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B767E7-4D99-43CF-B261-15DD1B1C5F3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4315624" y="-1"/>
            <a:ext cx="7876373" cy="6858000"/>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8" y="496088"/>
            <a:ext cx="3823237"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3529978" cy="2578199"/>
          </a:xfrm>
        </p:spPr>
        <p:txBody>
          <a:bodyPr tIns="36000">
            <a:noAutofit/>
          </a:bodyPr>
          <a:lstStyle>
            <a:lvl1pPr rtl="0">
              <a:lnSpc>
                <a:spcPct val="100000"/>
              </a:lnSpc>
              <a:defRPr sz="2737">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35430383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atement w/ image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2BBB7B2-19ED-40A4-8909-CE8FA6C90BB4}"/>
              </a:ext>
            </a:extLst>
          </p:cNvPr>
          <p:cNvGraphicFramePr>
            <a:graphicFrameLocks noChangeAspect="1"/>
          </p:cNvGraphicFramePr>
          <p:nvPr>
            <p:custDataLst>
              <p:tags r:id="rId1"/>
            </p:custDataLst>
            <p:extLst>
              <p:ext uri="{D42A27DB-BD31-4B8C-83A1-F6EECF244321}">
                <p14:modId xmlns:p14="http://schemas.microsoft.com/office/powerpoint/2010/main" val="108715973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2BBB7B2-19ED-40A4-8909-CE8FA6C90BB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036013C-F56D-4627-932D-FB90CE5639C9}"/>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4315624" y="-1"/>
            <a:ext cx="7876373" cy="6858000"/>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8" y="496088"/>
            <a:ext cx="3823237"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3529978" cy="2578199"/>
          </a:xfrm>
        </p:spPr>
        <p:txBody>
          <a:bodyPr tIns="36000">
            <a:noAutofit/>
          </a:bodyPr>
          <a:lstStyle>
            <a:lvl1pPr rtl="0">
              <a:lnSpc>
                <a:spcPct val="100000"/>
              </a:lnSpc>
              <a:defRPr sz="2737">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pic>
        <p:nvPicPr>
          <p:cNvPr id="7" name="Picture 2" descr="Unite_Mercateo_logo landscape_white_RGB@5x">
            <a:extLst>
              <a:ext uri="{FF2B5EF4-FFF2-40B4-BE49-F238E27FC236}">
                <a16:creationId xmlns:a16="http://schemas.microsoft.com/office/drawing/2014/main" id="{58B8C648-5DA3-B28E-E41B-2D40903E8CF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0446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atement w/ image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49F3050-EBD2-4AC5-8DFA-F40F00887464}"/>
              </a:ext>
            </a:extLst>
          </p:cNvPr>
          <p:cNvGraphicFramePr>
            <a:graphicFrameLocks noChangeAspect="1"/>
          </p:cNvGraphicFramePr>
          <p:nvPr>
            <p:custDataLst>
              <p:tags r:id="rId1"/>
            </p:custDataLst>
            <p:extLst>
              <p:ext uri="{D42A27DB-BD31-4B8C-83A1-F6EECF244321}">
                <p14:modId xmlns:p14="http://schemas.microsoft.com/office/powerpoint/2010/main" val="48911503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D49F3050-EBD2-4AC5-8DFA-F40F0088746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p:cNvSpPr>
          <p:nvPr>
            <p:ph type="pic" sz="quarter" idx="15" hasCustomPrompt="1"/>
          </p:nvPr>
        </p:nvSpPr>
        <p:spPr bwMode="gray">
          <a:xfrm>
            <a:off x="6096000" y="-1"/>
            <a:ext cx="6095997" cy="6858000"/>
          </a:xfrm>
          <a:prstGeom prst="rect">
            <a:avLst/>
          </a:pr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8" y="496088"/>
            <a:ext cx="4773616"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4773616" cy="2578199"/>
          </a:xfrm>
        </p:spPr>
        <p:txBody>
          <a:bodyPr tIns="36000">
            <a:noAutofit/>
          </a:bodyPr>
          <a:lstStyle>
            <a:lvl1pPr rtl="0">
              <a:lnSpc>
                <a:spcPct val="100000"/>
              </a:lnSpc>
              <a:defRPr sz="2737">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29910848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ntro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6BB1A2-65B3-49CA-A294-F2D75772B5DD}"/>
              </a:ext>
            </a:extLst>
          </p:cNvPr>
          <p:cNvGraphicFramePr>
            <a:graphicFrameLocks noChangeAspect="1"/>
          </p:cNvGraphicFramePr>
          <p:nvPr>
            <p:custDataLst>
              <p:tags r:id="rId1"/>
            </p:custDataLst>
            <p:extLst>
              <p:ext uri="{D42A27DB-BD31-4B8C-83A1-F6EECF244321}">
                <p14:modId xmlns:p14="http://schemas.microsoft.com/office/powerpoint/2010/main" val="179277067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C6BB1A2-65B3-49CA-A294-F2D75772B5DD}"/>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2C60DCE-4E2E-4F05-9D59-183520E6C971}"/>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5"/>
            <a:ext cx="11205416" cy="4121342"/>
          </a:xfrm>
        </p:spPr>
        <p:txBody>
          <a:bodyPr tIns="36000">
            <a:noAutofit/>
          </a:bodyPr>
          <a:lstStyle>
            <a:lvl1pPr rtl="0">
              <a:lnSpc>
                <a:spcPct val="100000"/>
              </a:lnSpc>
              <a:defRPr sz="2737">
                <a:solidFill>
                  <a:schemeClr val="bg2"/>
                </a:solidFill>
                <a:latin typeface="Poppins Light" panose="00000400000000000000" pitchFamily="2" charset="0"/>
                <a:cs typeface="Poppins Light" panose="00000400000000000000" pitchFamily="2" charset="0"/>
              </a:defRPr>
            </a:lvl1pPr>
            <a:lvl2pPr marL="0" indent="0">
              <a:lnSpc>
                <a:spcPct val="100000"/>
              </a:lnSpc>
              <a:spcBef>
                <a:spcPts val="0"/>
              </a:spcBef>
              <a:buFont typeface="Arial" panose="020B0604020202020204" pitchFamily="34" charset="0"/>
              <a:buNone/>
              <a:defRPr sz="2737">
                <a:solidFill>
                  <a:schemeClr val="bg1"/>
                </a:solidFill>
                <a:latin typeface="Poppins Light" panose="00000400000000000000" pitchFamily="2" charset="0"/>
                <a:cs typeface="Poppins Light" panose="00000400000000000000" pitchFamily="2" charset="0"/>
              </a:defRPr>
            </a:lvl2pPr>
          </a:lstStyle>
          <a:p>
            <a:pPr lvl="0"/>
            <a:r>
              <a:rPr lang="en-US"/>
              <a:t>Intro text, Poppins Light, 24pt</a:t>
            </a:r>
          </a:p>
        </p:txBody>
      </p:sp>
      <p:pic>
        <p:nvPicPr>
          <p:cNvPr id="7" name="Picture 2" descr="Unite_Mercateo_logo landscape_white_RGB@5x">
            <a:extLst>
              <a:ext uri="{FF2B5EF4-FFF2-40B4-BE49-F238E27FC236}">
                <a16:creationId xmlns:a16="http://schemas.microsoft.com/office/drawing/2014/main" id="{36D29B9F-0B91-F2C0-B2FD-1134AB6FD44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6854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6A1245E-C09D-4C80-B1DE-EAA4B5308E48}"/>
              </a:ext>
            </a:extLst>
          </p:cNvPr>
          <p:cNvGraphicFramePr>
            <a:graphicFrameLocks noChangeAspect="1"/>
          </p:cNvGraphicFramePr>
          <p:nvPr>
            <p:custDataLst>
              <p:tags r:id="rId1"/>
            </p:custDataLst>
            <p:extLst>
              <p:ext uri="{D42A27DB-BD31-4B8C-83A1-F6EECF244321}">
                <p14:modId xmlns:p14="http://schemas.microsoft.com/office/powerpoint/2010/main" val="280067632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6A1245E-C09D-4C80-B1DE-EAA4B5308E4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2" name="Title 1"/>
          <p:cNvSpPr>
            <a:spLocks noGrp="1"/>
          </p:cNvSpPr>
          <p:nvPr>
            <p:ph type="ctrTitle" hasCustomPrompt="1"/>
          </p:nvPr>
        </p:nvSpPr>
        <p:spPr bwMode="gray">
          <a:xfrm>
            <a:off x="492387" y="1682960"/>
            <a:ext cx="5110877" cy="1351516"/>
          </a:xfrm>
        </p:spPr>
        <p:txBody>
          <a:bodyPr vert="horz" tIns="72000" anchor="t">
            <a:noAutofit/>
          </a:bodyPr>
          <a:lstStyle>
            <a:lvl1pPr algn="l" rtl="0">
              <a:lnSpc>
                <a:spcPct val="100000"/>
              </a:lnSpc>
              <a:defRPr sz="4105">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92387" y="3200505"/>
            <a:ext cx="5110877"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fld id="{D1841161-7AEA-45A0-9DD6-72288FE30A04}" type="datetimeFigureOut">
              <a:rPr lang="nl-NL" smtClean="0"/>
              <a:t>5-10-2023</a:t>
            </a:fld>
            <a:endParaRPr lang="nl-NL"/>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sp>
        <p:nvSpPr>
          <p:cNvPr id="17" name="Picture Placeholder 16">
            <a:extLst>
              <a:ext uri="{FF2B5EF4-FFF2-40B4-BE49-F238E27FC236}">
                <a16:creationId xmlns:a16="http://schemas.microsoft.com/office/drawing/2014/main" id="{3158AC2D-D2D8-4392-90E3-D226D2BE1C6A}"/>
              </a:ext>
            </a:extLst>
          </p:cNvPr>
          <p:cNvSpPr>
            <a:spLocks noGrp="1" noChangeAspect="1"/>
          </p:cNvSpPr>
          <p:nvPr>
            <p:ph type="pic" sz="quarter" idx="14" hasCustomPrompt="1"/>
          </p:nvPr>
        </p:nvSpPr>
        <p:spPr bwMode="gray">
          <a:xfrm>
            <a:off x="5849046" y="496088"/>
            <a:ext cx="5839931" cy="5865248"/>
          </a:xfrm>
          <a:custGeom>
            <a:avLst/>
            <a:gdLst>
              <a:gd name="connsiteX0" fmla="*/ 2554651 w 5121346"/>
              <a:gd name="connsiteY0" fmla="*/ 0 h 5123946"/>
              <a:gd name="connsiteX1" fmla="*/ 2569105 w 5121346"/>
              <a:gd name="connsiteY1" fmla="*/ 0 h 5123946"/>
              <a:gd name="connsiteX2" fmla="*/ 2729128 w 5121346"/>
              <a:gd name="connsiteY2" fmla="*/ 11209 h 5123946"/>
              <a:gd name="connsiteX3" fmla="*/ 3327090 w 5121346"/>
              <a:gd name="connsiteY3" fmla="*/ 774574 h 5123946"/>
              <a:gd name="connsiteX4" fmla="*/ 3327090 w 5121346"/>
              <a:gd name="connsiteY4" fmla="*/ 1794387 h 5123946"/>
              <a:gd name="connsiteX5" fmla="*/ 4347030 w 5121346"/>
              <a:gd name="connsiteY5" fmla="*/ 1794387 h 5123946"/>
              <a:gd name="connsiteX6" fmla="*/ 5121346 w 5121346"/>
              <a:gd name="connsiteY6" fmla="*/ 2564513 h 5123946"/>
              <a:gd name="connsiteX7" fmla="*/ 4347030 w 5121346"/>
              <a:gd name="connsiteY7" fmla="*/ 3329691 h 5123946"/>
              <a:gd name="connsiteX8" fmla="*/ 3327218 w 5121346"/>
              <a:gd name="connsiteY8" fmla="*/ 3329691 h 5123946"/>
              <a:gd name="connsiteX9" fmla="*/ 3327218 w 5121346"/>
              <a:gd name="connsiteY9" fmla="*/ 4349630 h 5123946"/>
              <a:gd name="connsiteX10" fmla="*/ 2557090 w 5121346"/>
              <a:gd name="connsiteY10" fmla="*/ 5123946 h 5123946"/>
              <a:gd name="connsiteX11" fmla="*/ 1791912 w 5121346"/>
              <a:gd name="connsiteY11" fmla="*/ 4349630 h 5123946"/>
              <a:gd name="connsiteX12" fmla="*/ 1791912 w 5121346"/>
              <a:gd name="connsiteY12" fmla="*/ 3329691 h 5123946"/>
              <a:gd name="connsiteX13" fmla="*/ 771974 w 5121346"/>
              <a:gd name="connsiteY13" fmla="*/ 3329691 h 5123946"/>
              <a:gd name="connsiteX14" fmla="*/ 9364 w 5121346"/>
              <a:gd name="connsiteY14" fmla="*/ 2728497 h 5123946"/>
              <a:gd name="connsiteX15" fmla="*/ 0 w 5121346"/>
              <a:gd name="connsiteY15" fmla="*/ 2593477 h 5123946"/>
              <a:gd name="connsiteX16" fmla="*/ 0 w 5121346"/>
              <a:gd name="connsiteY16" fmla="*/ 2526147 h 5123946"/>
              <a:gd name="connsiteX17" fmla="*/ 9338 w 5121346"/>
              <a:gd name="connsiteY17" fmla="*/ 2392471 h 5123946"/>
              <a:gd name="connsiteX18" fmla="*/ 771974 w 5121346"/>
              <a:gd name="connsiteY18" fmla="*/ 1794387 h 5123946"/>
              <a:gd name="connsiteX19" fmla="*/ 1791912 w 5121346"/>
              <a:gd name="connsiteY19" fmla="*/ 1794387 h 5123946"/>
              <a:gd name="connsiteX20" fmla="*/ 1791912 w 5121346"/>
              <a:gd name="connsiteY20" fmla="*/ 774574 h 5123946"/>
              <a:gd name="connsiteX21" fmla="*/ 1791786 w 5121346"/>
              <a:gd name="connsiteY21" fmla="*/ 774574 h 5123946"/>
              <a:gd name="connsiteX22" fmla="*/ 2393065 w 5121346"/>
              <a:gd name="connsiteY22" fmla="*/ 11209 h 512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3946">
                <a:moveTo>
                  <a:pt x="2554651" y="0"/>
                </a:moveTo>
                <a:lnTo>
                  <a:pt x="2569105" y="0"/>
                </a:lnTo>
                <a:lnTo>
                  <a:pt x="2729128" y="11209"/>
                </a:lnTo>
                <a:cubicBezTo>
                  <a:pt x="3099481" y="66004"/>
                  <a:pt x="3327090" y="313967"/>
                  <a:pt x="3327090" y="774574"/>
                </a:cubicBezTo>
                <a:lnTo>
                  <a:pt x="3327090" y="1794387"/>
                </a:lnTo>
                <a:lnTo>
                  <a:pt x="4347030" y="1794387"/>
                </a:lnTo>
                <a:cubicBezTo>
                  <a:pt x="4872675" y="1794387"/>
                  <a:pt x="5121346" y="2091801"/>
                  <a:pt x="5121346" y="2564513"/>
                </a:cubicBezTo>
                <a:cubicBezTo>
                  <a:pt x="5121346" y="3032404"/>
                  <a:pt x="4873311" y="3329691"/>
                  <a:pt x="4347030" y="3329691"/>
                </a:cubicBezTo>
                <a:lnTo>
                  <a:pt x="3327218" y="3329691"/>
                </a:lnTo>
                <a:lnTo>
                  <a:pt x="3327218" y="4349630"/>
                </a:lnTo>
                <a:cubicBezTo>
                  <a:pt x="3327218" y="4875404"/>
                  <a:pt x="3029931" y="5123946"/>
                  <a:pt x="2557090" y="5123946"/>
                </a:cubicBezTo>
                <a:cubicBezTo>
                  <a:pt x="2089200" y="5123946"/>
                  <a:pt x="1791912" y="4876039"/>
                  <a:pt x="1791912" y="4349630"/>
                </a:cubicBezTo>
                <a:lnTo>
                  <a:pt x="1791912" y="3329691"/>
                </a:lnTo>
                <a:lnTo>
                  <a:pt x="771974" y="3329691"/>
                </a:lnTo>
                <a:cubicBezTo>
                  <a:pt x="311922" y="3329691"/>
                  <a:pt x="64125" y="3102081"/>
                  <a:pt x="9364" y="2728497"/>
                </a:cubicBezTo>
                <a:lnTo>
                  <a:pt x="0" y="2593477"/>
                </a:lnTo>
                <a:lnTo>
                  <a:pt x="0" y="2526147"/>
                </a:lnTo>
                <a:lnTo>
                  <a:pt x="9338" y="2392471"/>
                </a:lnTo>
                <a:cubicBezTo>
                  <a:pt x="63986" y="2022095"/>
                  <a:pt x="311366" y="1794387"/>
                  <a:pt x="771974" y="1794387"/>
                </a:cubicBezTo>
                <a:lnTo>
                  <a:pt x="1791912" y="1794387"/>
                </a:lnTo>
                <a:lnTo>
                  <a:pt x="1791912" y="774574"/>
                </a:lnTo>
                <a:lnTo>
                  <a:pt x="1791786" y="774574"/>
                </a:lnTo>
                <a:cubicBezTo>
                  <a:pt x="1791786" y="313967"/>
                  <a:pt x="2019397" y="66004"/>
                  <a:pt x="2393065" y="11209"/>
                </a:cubicBezTo>
                <a:close/>
              </a:path>
            </a:pathLst>
          </a:custGeom>
          <a:solidFill>
            <a:schemeClr val="bg1"/>
          </a:solidFill>
        </p:spPr>
        <p:txBody>
          <a:bodyPr wrap="square">
            <a:noAutofit/>
          </a:bodyPr>
          <a:lstStyle>
            <a:lvl1pPr algn="ctr" rtl="0">
              <a:defRPr/>
            </a:lvl1pPr>
          </a:lstStyle>
          <a:p>
            <a:r>
              <a:rPr lang="en-US"/>
              <a:t> </a:t>
            </a:r>
          </a:p>
        </p:txBody>
      </p:sp>
      <p:pic>
        <p:nvPicPr>
          <p:cNvPr id="4" name="Picture 2" descr="Unite_Mercateo_logo landscape_white_RGB@5x">
            <a:extLst>
              <a:ext uri="{FF2B5EF4-FFF2-40B4-BE49-F238E27FC236}">
                <a16:creationId xmlns:a16="http://schemas.microsoft.com/office/drawing/2014/main" id="{4A7A51AE-25C0-77BC-85EB-6A123166CFA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51317" y="363465"/>
            <a:ext cx="4129237" cy="1097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00907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p:custDataLst>
              <p:tags r:id="rId1"/>
            </p:custDataLst>
            <p:extLst>
              <p:ext uri="{D42A27DB-BD31-4B8C-83A1-F6EECF244321}">
                <p14:modId xmlns:p14="http://schemas.microsoft.com/office/powerpoint/2010/main" val="68174183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46305" indent="-246305" rtl="0">
              <a:lnSpc>
                <a:spcPct val="113000"/>
              </a:lnSpc>
              <a:spcBef>
                <a:spcPts val="912"/>
              </a:spcBef>
              <a:buClr>
                <a:schemeClr val="tx1"/>
              </a:buClr>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1pPr>
            <a:lvl2pPr marL="492610" indent="-246305" rtl="0">
              <a:lnSpc>
                <a:spcPct val="113000"/>
              </a:lnSpc>
              <a:spcBef>
                <a:spcPts val="684"/>
              </a:spcBef>
              <a:buClr>
                <a:schemeClr val="tx1"/>
              </a:buClr>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2pPr>
            <a:lvl3pPr marL="738914" indent="-246305" rtl="0">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3pPr>
            <a:lvl4pPr marL="985219" indent="-246305" rtl="0">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4pPr>
            <a:lvl5pPr marL="1231524" indent="-246305" rtl="0">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5pPr>
            <a:lvl6pPr marL="1477829"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6pPr>
            <a:lvl7pPr marL="1724134"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7pPr>
            <a:lvl8pPr marL="1970438"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8pPr>
            <a:lvl9pPr marL="2216743"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9pPr>
          </a:lstStyle>
          <a:p>
            <a:pPr lvl="0"/>
            <a:r>
              <a:rPr lang="en-US"/>
              <a:t>First level, Poppins Light, 16pt</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40009804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enefits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p:custDataLst>
              <p:tags r:id="rId1"/>
            </p:custDataLst>
            <p:extLst>
              <p:ext uri="{D42A27DB-BD31-4B8C-83A1-F6EECF244321}">
                <p14:modId xmlns:p14="http://schemas.microsoft.com/office/powerpoint/2010/main" val="165581924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46305" indent="-246305" rtl="0">
              <a:lnSpc>
                <a:spcPct val="113000"/>
              </a:lnSpc>
              <a:spcBef>
                <a:spcPts val="912"/>
              </a:spcBef>
              <a:buClr>
                <a:schemeClr val="tx1"/>
              </a:buClr>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1pPr>
            <a:lvl2pPr marL="492610"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2pPr>
            <a:lvl3pPr marL="738914"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3pPr>
            <a:lvl4pPr marL="985219"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4pPr>
            <a:lvl5pPr marL="1231524"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5pPr>
            <a:lvl6pPr marL="1477829"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6pPr>
            <a:lvl7pPr marL="1724134"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7pPr>
            <a:lvl8pPr marL="1970438"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8pPr>
            <a:lvl9pPr marL="2216743"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9pPr>
          </a:lstStyle>
          <a:p>
            <a:pPr lvl="0"/>
            <a:r>
              <a:rPr lang="en-US"/>
              <a:t>First level, Poppins Light, 16pt, "+" used for benefits only</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17569241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p:custDataLst>
              <p:tags r:id="rId1"/>
            </p:custDataLst>
            <p:extLst>
              <p:ext uri="{D42A27DB-BD31-4B8C-83A1-F6EECF244321}">
                <p14:modId xmlns:p14="http://schemas.microsoft.com/office/powerpoint/2010/main" val="369966370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Tree>
    <p:extLst>
      <p:ext uri="{BB962C8B-B14F-4D97-AF65-F5344CB8AC3E}">
        <p14:creationId xmlns:p14="http://schemas.microsoft.com/office/powerpoint/2010/main" val="34045743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dy copy 1 column white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4E9AD6C-4F8A-4F2B-9518-C48344A462E7}"/>
              </a:ext>
            </a:extLst>
          </p:cNvPr>
          <p:cNvGraphicFramePr>
            <a:graphicFrameLocks noChangeAspect="1"/>
          </p:cNvGraphicFramePr>
          <p:nvPr>
            <p:custDataLst>
              <p:tags r:id="rId1"/>
            </p:custDataLst>
            <p:extLst>
              <p:ext uri="{D42A27DB-BD31-4B8C-83A1-F6EECF244321}">
                <p14:modId xmlns:p14="http://schemas.microsoft.com/office/powerpoint/2010/main" val="366190038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4E9AD6C-4F8A-4F2B-9518-C48344A462E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6096000" y="1"/>
            <a:ext cx="6096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112130"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9" y="1666345"/>
            <a:ext cx="5112130"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0"/>
              </a:spcBef>
              <a:defRPr/>
            </a:lvl3pPr>
            <a:lvl4pPr marL="492610" indent="-246305" rtl="0">
              <a:defRPr/>
            </a:lvl4pPr>
            <a:lvl5pPr marL="738914" rtl="0">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6642304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ody copy 1 column gradient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F77DFB-AA05-4898-90FC-4F4CECF6CDFD}"/>
              </a:ext>
            </a:extLst>
          </p:cNvPr>
          <p:cNvGraphicFramePr>
            <a:graphicFrameLocks noChangeAspect="1"/>
          </p:cNvGraphicFramePr>
          <p:nvPr>
            <p:custDataLst>
              <p:tags r:id="rId1"/>
            </p:custDataLst>
            <p:extLst>
              <p:ext uri="{D42A27DB-BD31-4B8C-83A1-F6EECF244321}">
                <p14:modId xmlns:p14="http://schemas.microsoft.com/office/powerpoint/2010/main" val="199165497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F77DFB-AA05-4898-90FC-4F4CECF6CDFD}"/>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0B5FF55-7645-4204-9035-F839556D85C1}"/>
              </a:ext>
            </a:extLst>
          </p:cNvPr>
          <p:cNvSpPr/>
          <p:nvPr/>
        </p:nvSpPr>
        <p:spPr bwMode="gray">
          <a:xfrm>
            <a:off x="1" y="1"/>
            <a:ext cx="6095999"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6096000" y="1"/>
            <a:ext cx="6096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112130"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9" y="1666345"/>
            <a:ext cx="5112130" cy="4121342"/>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46305" indent="-246305" rtl="0">
              <a:spcBef>
                <a:spcPts val="0"/>
              </a:spcBef>
              <a:buFontTx/>
              <a:buBlip>
                <a:blip r:embed="rId5"/>
              </a:buBlip>
              <a:defRPr>
                <a:solidFill>
                  <a:schemeClr val="bg2"/>
                </a:solidFill>
              </a:defRPr>
            </a:lvl3pPr>
            <a:lvl4pPr marL="492610" indent="-246305" rtl="0">
              <a:buFontTx/>
              <a:buBlip>
                <a:blip r:embed="rId5"/>
              </a:buBlip>
              <a:defRPr>
                <a:solidFill>
                  <a:schemeClr val="bg2"/>
                </a:solidFill>
              </a:defRPr>
            </a:lvl4pPr>
            <a:lvl5pPr marL="738914" indent="-246305" rtl="0">
              <a:buFontTx/>
              <a:buBlip>
                <a:blip r:embed="rId5"/>
              </a:buBlip>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pic>
        <p:nvPicPr>
          <p:cNvPr id="9" name="Picture 2" descr="Unite_Mercateo_logo landscape_white_RGB@5x">
            <a:extLst>
              <a:ext uri="{FF2B5EF4-FFF2-40B4-BE49-F238E27FC236}">
                <a16:creationId xmlns:a16="http://schemas.microsoft.com/office/drawing/2014/main" id="{C55A1897-570A-B171-2B7B-0D63C1F365A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4382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ody copy 2 columns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C9CA639-DE39-413F-A47F-6C027584A329}"/>
              </a:ext>
            </a:extLst>
          </p:cNvPr>
          <p:cNvGraphicFramePr>
            <a:graphicFrameLocks noChangeAspect="1"/>
          </p:cNvGraphicFramePr>
          <p:nvPr>
            <p:custDataLst>
              <p:tags r:id="rId1"/>
            </p:custDataLst>
            <p:extLst>
              <p:ext uri="{D42A27DB-BD31-4B8C-83A1-F6EECF244321}">
                <p14:modId xmlns:p14="http://schemas.microsoft.com/office/powerpoint/2010/main" val="175898787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7C9CA639-DE39-413F-A47F-6C027584A329}"/>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vl6pPr marL="985219">
              <a:spcBef>
                <a:spcPts val="684"/>
              </a:spcBef>
              <a:defRPr/>
            </a:lvl6pPr>
            <a:lvl7pPr marL="1231524">
              <a:spcBef>
                <a:spcPts val="684"/>
              </a:spcBef>
              <a:defRPr/>
            </a:lvl7pPr>
            <a:lvl8pPr marL="1477829">
              <a:spcBef>
                <a:spcPts val="684"/>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273245" y="1666345"/>
            <a:ext cx="4512940"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vl6pPr marL="985219">
              <a:spcBef>
                <a:spcPts val="684"/>
              </a:spcBef>
              <a:defRPr/>
            </a:lvl6pPr>
            <a:lvl7pPr marL="1231524">
              <a:spcBef>
                <a:spcPts val="684"/>
              </a:spcBef>
              <a:defRPr/>
            </a:lvl7pPr>
            <a:lvl8pPr marL="1477829">
              <a:spcBef>
                <a:spcPts val="684"/>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Tree>
    <p:extLst>
      <p:ext uri="{BB962C8B-B14F-4D97-AF65-F5344CB8AC3E}">
        <p14:creationId xmlns:p14="http://schemas.microsoft.com/office/powerpoint/2010/main" val="27637944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dy copy 2 columns  w/ benefi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6414E9B-7E3B-4AAC-8BA0-50C74F3DE708}"/>
              </a:ext>
            </a:extLst>
          </p:cNvPr>
          <p:cNvGraphicFramePr>
            <a:graphicFrameLocks noChangeAspect="1"/>
          </p:cNvGraphicFramePr>
          <p:nvPr>
            <p:custDataLst>
              <p:tags r:id="rId1"/>
            </p:custDataLst>
            <p:extLst>
              <p:ext uri="{D42A27DB-BD31-4B8C-83A1-F6EECF244321}">
                <p14:modId xmlns:p14="http://schemas.microsoft.com/office/powerpoint/2010/main" val="396574833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66414E9B-7E3B-4AAC-8BA0-50C74F3DE70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vl6pPr marL="985219">
              <a:spcBef>
                <a:spcPts val="684"/>
              </a:spcBef>
              <a:defRPr/>
            </a:lvl6pPr>
            <a:lvl7pPr marL="1231524">
              <a:spcBef>
                <a:spcPts val="684"/>
              </a:spcBef>
              <a:defRPr/>
            </a:lvl7pPr>
            <a:lvl8pPr marL="1477829">
              <a:spcBef>
                <a:spcPts val="684"/>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273245" y="1666345"/>
            <a:ext cx="4512940" cy="4121342"/>
          </a:xfrm>
        </p:spPr>
        <p:txBody>
          <a:bodyPr/>
          <a:lstStyle>
            <a:lvl1pPr rtl="0">
              <a:defRPr b="1"/>
            </a:lvl1pPr>
            <a:lvl2pPr marL="0" indent="0" rtl="0">
              <a:buFont typeface="Arial" panose="020B0604020202020204" pitchFamily="34" charset="0"/>
              <a:buNone/>
              <a:defRPr/>
            </a:lvl2pPr>
            <a:lvl3pPr marL="246305" indent="-246305" rtl="0">
              <a:spcBef>
                <a:spcPts val="684"/>
              </a:spcBef>
              <a:buFont typeface="UniteFont" panose="02000509000000000000" pitchFamily="49" charset="0"/>
              <a:buChar char="+"/>
              <a:defRPr/>
            </a:lvl3pPr>
            <a:lvl4pPr marL="492610" indent="-246305" rtl="0">
              <a:spcBef>
                <a:spcPts val="684"/>
              </a:spcBef>
              <a:buFont typeface="UniteFont" panose="02000509000000000000" pitchFamily="49" charset="0"/>
              <a:buChar char="+"/>
              <a:defRPr/>
            </a:lvl4pPr>
            <a:lvl5pPr marL="738914" indent="-246305" rtl="0">
              <a:spcBef>
                <a:spcPts val="684"/>
              </a:spcBef>
              <a:buFont typeface="UniteFont" panose="02000509000000000000" pitchFamily="49" charset="0"/>
              <a:buChar char="+"/>
              <a:defRPr/>
            </a:lvl5pPr>
            <a:lvl6pPr marL="985219" indent="-246305">
              <a:spcBef>
                <a:spcPts val="684"/>
              </a:spcBef>
              <a:spcAft>
                <a:spcPts val="0"/>
              </a:spcAft>
              <a:buFont typeface="UniteFont" panose="02000509000000000000" pitchFamily="49" charset="0"/>
              <a:buChar char="+"/>
              <a:defRPr/>
            </a:lvl6pPr>
            <a:lvl7pPr marL="1231524" indent="-246305">
              <a:spcBef>
                <a:spcPts val="684"/>
              </a:spcBef>
              <a:spcAft>
                <a:spcPts val="0"/>
              </a:spcAft>
              <a:buFont typeface="UniteFont" panose="02000509000000000000" pitchFamily="49" charset="0"/>
              <a:buChar char="+"/>
              <a:defRPr/>
            </a:lvl7pPr>
            <a:lvl8pPr marL="1477829" indent="-246305">
              <a:spcBef>
                <a:spcPts val="684"/>
              </a:spcBef>
              <a:spcAft>
                <a:spcPts val="0"/>
              </a:spcAft>
              <a:buFont typeface="UniteFont" panose="02000509000000000000" pitchFamily="49" charset="0"/>
              <a:buChar char="+"/>
              <a:defRPr/>
            </a:lvl8pPr>
            <a:lvl9pPr marL="1724134" indent="-246305">
              <a:spcBef>
                <a:spcPts val="684"/>
              </a:spcBef>
              <a:spcAft>
                <a:spcPts val="0"/>
              </a:spcAft>
              <a:buFont typeface="UniteFont" panose="02000509000000000000" pitchFamily="49" charset="0"/>
              <a:buChar char="+"/>
              <a:defRPr/>
            </a:lvl9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a:p>
            <a:pPr lvl="5"/>
            <a:r>
              <a:rPr lang="en-US"/>
              <a:t>Sixth level, Noto Sans, 11pt</a:t>
            </a:r>
          </a:p>
          <a:p>
            <a:pPr lvl="6"/>
            <a:r>
              <a:rPr lang="en-US"/>
              <a:t>Seventh level, Noto Sans, 11pt</a:t>
            </a:r>
          </a:p>
          <a:p>
            <a:pPr lvl="7"/>
            <a:r>
              <a:rPr lang="en-US"/>
              <a:t>Eight level, Noto Sans, 11pt</a:t>
            </a:r>
          </a:p>
          <a:p>
            <a:pPr lvl="8"/>
            <a:r>
              <a:rPr lang="en-US"/>
              <a:t>Ninth level, Noto Sans, 11pt</a:t>
            </a:r>
          </a:p>
        </p:txBody>
      </p:sp>
    </p:spTree>
    <p:extLst>
      <p:ext uri="{BB962C8B-B14F-4D97-AF65-F5344CB8AC3E}">
        <p14:creationId xmlns:p14="http://schemas.microsoft.com/office/powerpoint/2010/main" val="7758951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dy copy 2 columns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6838C32-5617-409D-B4B0-9D514AEDF145}"/>
              </a:ext>
            </a:extLst>
          </p:cNvPr>
          <p:cNvGraphicFramePr>
            <a:graphicFrameLocks noChangeAspect="1"/>
          </p:cNvGraphicFramePr>
          <p:nvPr>
            <p:custDataLst>
              <p:tags r:id="rId1"/>
            </p:custDataLst>
            <p:extLst>
              <p:ext uri="{D42A27DB-BD31-4B8C-83A1-F6EECF244321}">
                <p14:modId xmlns:p14="http://schemas.microsoft.com/office/powerpoint/2010/main" val="104726772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B6838C32-5617-409D-B4B0-9D514AEDF14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204775" y="1"/>
            <a:ext cx="4987225"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448837"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2581408"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359815" y="1666345"/>
            <a:ext cx="2581409"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749065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ody copy 2 columns w/ image coral">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4836E3D-6DEC-42CA-BB07-B3C3A0021266}"/>
              </a:ext>
            </a:extLst>
          </p:cNvPr>
          <p:cNvGraphicFramePr>
            <a:graphicFrameLocks noChangeAspect="1"/>
          </p:cNvGraphicFramePr>
          <p:nvPr>
            <p:custDataLst>
              <p:tags r:id="rId1"/>
            </p:custDataLst>
            <p:extLst>
              <p:ext uri="{D42A27DB-BD31-4B8C-83A1-F6EECF244321}">
                <p14:modId xmlns:p14="http://schemas.microsoft.com/office/powerpoint/2010/main" val="229602989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F4836E3D-6DEC-42CA-BB07-B3C3A002126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6E92660-FC6E-4F4E-A6B3-EFC80B51BFBC}"/>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204775" y="1"/>
            <a:ext cx="4987225"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448837"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2581408" cy="4121342"/>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46305" indent="-246305" rtl="0">
              <a:spcBef>
                <a:spcPts val="684"/>
              </a:spcBef>
              <a:buClr>
                <a:schemeClr val="bg2"/>
              </a:buClr>
              <a:buFont typeface="UniteFont" panose="02000509000000000000" pitchFamily="49" charset="0"/>
              <a:buChar char="&gt;"/>
              <a:defRPr>
                <a:solidFill>
                  <a:schemeClr val="bg2"/>
                </a:solidFill>
              </a:defRPr>
            </a:lvl3pPr>
            <a:lvl4pPr marL="492610" indent="-246305" rtl="0">
              <a:spcBef>
                <a:spcPts val="684"/>
              </a:spcBef>
              <a:buClr>
                <a:schemeClr val="bg2"/>
              </a:buClr>
              <a:buFont typeface="UniteFont" panose="02000509000000000000" pitchFamily="49" charset="0"/>
              <a:buChar char="&gt;"/>
              <a:defRPr>
                <a:solidFill>
                  <a:schemeClr val="bg2"/>
                </a:solidFill>
              </a:defRPr>
            </a:lvl4pPr>
            <a:lvl5pPr marL="738914" indent="-246305" rtl="0">
              <a:spcBef>
                <a:spcPts val="684"/>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359815" y="1666345"/>
            <a:ext cx="2581409" cy="4121342"/>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46305" indent="-246305" rtl="0">
              <a:spcBef>
                <a:spcPts val="684"/>
              </a:spcBef>
              <a:buClr>
                <a:schemeClr val="bg2"/>
              </a:buClr>
              <a:buFont typeface="UniteFont" panose="02000509000000000000" pitchFamily="49" charset="0"/>
              <a:buChar char="&gt;"/>
              <a:defRPr>
                <a:solidFill>
                  <a:schemeClr val="bg2"/>
                </a:solidFill>
              </a:defRPr>
            </a:lvl3pPr>
            <a:lvl4pPr marL="492610" indent="-246305" rtl="0">
              <a:spcBef>
                <a:spcPts val="684"/>
              </a:spcBef>
              <a:buClr>
                <a:schemeClr val="bg2"/>
              </a:buClr>
              <a:buFont typeface="UniteFont" panose="02000509000000000000" pitchFamily="49" charset="0"/>
              <a:buChar char="&gt;"/>
              <a:defRPr>
                <a:solidFill>
                  <a:schemeClr val="bg2"/>
                </a:solidFill>
              </a:defRPr>
            </a:lvl4pPr>
            <a:lvl5pPr marL="738914" indent="-246305" rtl="0">
              <a:spcBef>
                <a:spcPts val="684"/>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pic>
        <p:nvPicPr>
          <p:cNvPr id="10" name="Picture 2" descr="Unite_Mercateo_logo landscape_white_RGB@5x">
            <a:extLst>
              <a:ext uri="{FF2B5EF4-FFF2-40B4-BE49-F238E27FC236}">
                <a16:creationId xmlns:a16="http://schemas.microsoft.com/office/drawing/2014/main" id="{418DCF7A-2CD3-75E5-596D-5C303E40A49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4976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Key statement + copy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E72EEFC-C471-40E4-B193-CDD1C58AAD74}"/>
              </a:ext>
            </a:extLst>
          </p:cNvPr>
          <p:cNvGraphicFramePr>
            <a:graphicFrameLocks noChangeAspect="1"/>
          </p:cNvGraphicFramePr>
          <p:nvPr>
            <p:custDataLst>
              <p:tags r:id="rId1"/>
            </p:custDataLst>
            <p:extLst>
              <p:ext uri="{D42A27DB-BD31-4B8C-83A1-F6EECF244321}">
                <p14:modId xmlns:p14="http://schemas.microsoft.com/office/powerpoint/2010/main" val="107863373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EE72EEFC-C471-40E4-B193-CDD1C58AAD7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8160585" y="1"/>
            <a:ext cx="4031416"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7045473"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tIns="36000"/>
          <a:lstStyle>
            <a:lvl1pPr rtl="0">
              <a:lnSpc>
                <a:spcPct val="100000"/>
              </a:lnSpc>
              <a:defRPr sz="2737" b="0">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46305" indent="-246305">
              <a:defRPr/>
            </a:lvl3pPr>
            <a:lvl4pPr marL="492610" indent="-246305">
              <a:defRPr/>
            </a:lvl4pPr>
            <a:lvl5pPr marL="738914">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4" y="1666345"/>
            <a:ext cx="3222236"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205831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0AAD16C-F82C-4D2A-86E0-6B4B7B9849E3}"/>
              </a:ext>
            </a:extLst>
          </p:cNvPr>
          <p:cNvGraphicFramePr>
            <a:graphicFrameLocks noChangeAspect="1"/>
          </p:cNvGraphicFramePr>
          <p:nvPr>
            <p:custDataLst>
              <p:tags r:id="rId1"/>
            </p:custDataLst>
            <p:extLst>
              <p:ext uri="{D42A27DB-BD31-4B8C-83A1-F6EECF244321}">
                <p14:modId xmlns:p14="http://schemas.microsoft.com/office/powerpoint/2010/main" val="53127335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0AAD16C-F82C-4D2A-86E0-6B4B7B9849E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2" name="Title 1"/>
          <p:cNvSpPr>
            <a:spLocks noGrp="1"/>
          </p:cNvSpPr>
          <p:nvPr>
            <p:ph type="ctrTitle" hasCustomPrompt="1"/>
          </p:nvPr>
        </p:nvSpPr>
        <p:spPr bwMode="gray">
          <a:xfrm>
            <a:off x="492387" y="1682960"/>
            <a:ext cx="5110877" cy="1351516"/>
          </a:xfrm>
        </p:spPr>
        <p:txBody>
          <a:bodyPr vert="horz" tIns="72000" anchor="t">
            <a:noAutofit/>
          </a:bodyPr>
          <a:lstStyle>
            <a:lvl1pPr algn="l" rtl="0">
              <a:lnSpc>
                <a:spcPct val="100000"/>
              </a:lnSpc>
              <a:defRPr sz="4105">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92387" y="3200505"/>
            <a:ext cx="5110877"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fld id="{D1841161-7AEA-45A0-9DD6-72288FE30A04}" type="datetimeFigureOut">
              <a:rPr lang="nl-NL" smtClean="0"/>
              <a:t>5-10-2023</a:t>
            </a:fld>
            <a:endParaRPr lang="nl-NL"/>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sp>
        <p:nvSpPr>
          <p:cNvPr id="30" name="Picture Placeholder 29">
            <a:extLst>
              <a:ext uri="{FF2B5EF4-FFF2-40B4-BE49-F238E27FC236}">
                <a16:creationId xmlns:a16="http://schemas.microsoft.com/office/drawing/2014/main" id="{93D7FE7A-ABEA-4A29-A572-4273B6CF27D2}"/>
              </a:ext>
            </a:extLst>
          </p:cNvPr>
          <p:cNvSpPr>
            <a:spLocks noGrp="1" noChangeAspect="1"/>
          </p:cNvSpPr>
          <p:nvPr>
            <p:ph type="pic" sz="quarter" idx="14" hasCustomPrompt="1"/>
          </p:nvPr>
        </p:nvSpPr>
        <p:spPr bwMode="gray">
          <a:xfrm>
            <a:off x="7894702" y="496088"/>
            <a:ext cx="1748473" cy="2052172"/>
          </a:xfrm>
          <a:custGeom>
            <a:avLst/>
            <a:gdLst>
              <a:gd name="connsiteX0" fmla="*/ 760392 w 1533329"/>
              <a:gd name="connsiteY0" fmla="*/ 0 h 1792800"/>
              <a:gd name="connsiteX1" fmla="*/ 774842 w 1533329"/>
              <a:gd name="connsiteY1" fmla="*/ 0 h 1792800"/>
              <a:gd name="connsiteX2" fmla="*/ 934837 w 1533329"/>
              <a:gd name="connsiteY2" fmla="*/ 11206 h 1792800"/>
              <a:gd name="connsiteX3" fmla="*/ 1532695 w 1533329"/>
              <a:gd name="connsiteY3" fmla="*/ 774324 h 1792800"/>
              <a:gd name="connsiteX4" fmla="*/ 1533329 w 1533329"/>
              <a:gd name="connsiteY4" fmla="*/ 1792800 h 1792800"/>
              <a:gd name="connsiteX5" fmla="*/ 0 w 1533329"/>
              <a:gd name="connsiteY5" fmla="*/ 1792800 h 1792800"/>
              <a:gd name="connsiteX6" fmla="*/ 0 w 1533329"/>
              <a:gd name="connsiteY6" fmla="*/ 742787 h 1792800"/>
              <a:gd name="connsiteX7" fmla="*/ 11353 w 1533329"/>
              <a:gd name="connsiteY7" fmla="*/ 589943 h 1792800"/>
              <a:gd name="connsiteX8" fmla="*/ 598833 w 1533329"/>
              <a:gd name="connsiteY8" fmla="*/ 11206 h 179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329" h="1792800">
                <a:moveTo>
                  <a:pt x="760392" y="0"/>
                </a:moveTo>
                <a:lnTo>
                  <a:pt x="774842" y="0"/>
                </a:lnTo>
                <a:lnTo>
                  <a:pt x="934837" y="11206"/>
                </a:lnTo>
                <a:cubicBezTo>
                  <a:pt x="1305124" y="65982"/>
                  <a:pt x="1532695" y="313866"/>
                  <a:pt x="1532695" y="774324"/>
                </a:cubicBezTo>
                <a:lnTo>
                  <a:pt x="1533329" y="1792800"/>
                </a:lnTo>
                <a:lnTo>
                  <a:pt x="0" y="1792800"/>
                </a:lnTo>
                <a:lnTo>
                  <a:pt x="0" y="742787"/>
                </a:lnTo>
                <a:lnTo>
                  <a:pt x="11353" y="589943"/>
                </a:lnTo>
                <a:cubicBezTo>
                  <a:pt x="65658" y="246983"/>
                  <a:pt x="278601" y="58157"/>
                  <a:pt x="598833" y="11206"/>
                </a:cubicBezTo>
                <a:close/>
              </a:path>
            </a:pathLst>
          </a:custGeom>
          <a:solidFill>
            <a:schemeClr val="bg1"/>
          </a:solidFill>
        </p:spPr>
        <p:txBody>
          <a:bodyPr wrap="square">
            <a:noAutofit/>
          </a:bodyPr>
          <a:lstStyle>
            <a:lvl1pPr algn="ctr" rtl="0">
              <a:defRPr/>
            </a:lvl1pPr>
          </a:lstStyle>
          <a:p>
            <a:r>
              <a:rPr lang="en-US"/>
              <a:t> </a:t>
            </a:r>
          </a:p>
        </p:txBody>
      </p:sp>
      <p:sp>
        <p:nvSpPr>
          <p:cNvPr id="37" name="Picture Placeholder 36">
            <a:extLst>
              <a:ext uri="{FF2B5EF4-FFF2-40B4-BE49-F238E27FC236}">
                <a16:creationId xmlns:a16="http://schemas.microsoft.com/office/drawing/2014/main" id="{E32E1A6E-3A6F-48BD-BE75-504B67390680}"/>
              </a:ext>
            </a:extLst>
          </p:cNvPr>
          <p:cNvSpPr>
            <a:spLocks noGrp="1" noChangeAspect="1"/>
          </p:cNvSpPr>
          <p:nvPr>
            <p:ph type="pic" sz="quarter" idx="15" hasCustomPrompt="1"/>
          </p:nvPr>
        </p:nvSpPr>
        <p:spPr bwMode="gray">
          <a:xfrm>
            <a:off x="5854477" y="2543813"/>
            <a:ext cx="2042985" cy="1757008"/>
          </a:xfrm>
          <a:custGeom>
            <a:avLst/>
            <a:gdLst>
              <a:gd name="connsiteX0" fmla="*/ 981733 w 1791602"/>
              <a:gd name="connsiteY0" fmla="*/ 0 h 1534942"/>
              <a:gd name="connsiteX1" fmla="*/ 1791602 w 1791602"/>
              <a:gd name="connsiteY1" fmla="*/ 0 h 1534942"/>
              <a:gd name="connsiteX2" fmla="*/ 1791602 w 1791602"/>
              <a:gd name="connsiteY2" fmla="*/ 1534942 h 1534942"/>
              <a:gd name="connsiteX3" fmla="*/ 771840 w 1791602"/>
              <a:gd name="connsiteY3" fmla="*/ 1534942 h 1534942"/>
              <a:gd name="connsiteX4" fmla="*/ 9362 w 1791602"/>
              <a:gd name="connsiteY4" fmla="*/ 933941 h 1534942"/>
              <a:gd name="connsiteX5" fmla="*/ 0 w 1791602"/>
              <a:gd name="connsiteY5" fmla="*/ 798962 h 1534942"/>
              <a:gd name="connsiteX6" fmla="*/ 0 w 1791602"/>
              <a:gd name="connsiteY6" fmla="*/ 731657 h 1534942"/>
              <a:gd name="connsiteX7" fmla="*/ 9336 w 1791602"/>
              <a:gd name="connsiteY7" fmla="*/ 598022 h 1534942"/>
              <a:gd name="connsiteX8" fmla="*/ 771840 w 1791602"/>
              <a:gd name="connsiteY8" fmla="*/ 131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1602" h="1534942">
                <a:moveTo>
                  <a:pt x="981733" y="0"/>
                </a:moveTo>
                <a:lnTo>
                  <a:pt x="1791602" y="0"/>
                </a:lnTo>
                <a:lnTo>
                  <a:pt x="1791602" y="1534942"/>
                </a:lnTo>
                <a:lnTo>
                  <a:pt x="771840" y="1534942"/>
                </a:lnTo>
                <a:cubicBezTo>
                  <a:pt x="311867" y="1534942"/>
                  <a:pt x="64114" y="1307405"/>
                  <a:pt x="9362" y="933941"/>
                </a:cubicBezTo>
                <a:lnTo>
                  <a:pt x="0" y="798962"/>
                </a:lnTo>
                <a:lnTo>
                  <a:pt x="0" y="731657"/>
                </a:lnTo>
                <a:lnTo>
                  <a:pt x="9336" y="598022"/>
                </a:lnTo>
                <a:cubicBezTo>
                  <a:pt x="63975" y="227765"/>
                  <a:pt x="311312" y="131"/>
                  <a:pt x="771840" y="131"/>
                </a:cubicBezTo>
                <a:close/>
              </a:path>
            </a:pathLst>
          </a:custGeom>
          <a:solidFill>
            <a:schemeClr val="bg1"/>
          </a:solidFill>
        </p:spPr>
        <p:txBody>
          <a:bodyPr wrap="square">
            <a:noAutofit/>
          </a:bodyPr>
          <a:lstStyle>
            <a:lvl1pPr rtl="0">
              <a:defRPr/>
            </a:lvl1pPr>
          </a:lstStyle>
          <a:p>
            <a:r>
              <a:rPr lang="en-US"/>
              <a:t> </a:t>
            </a:r>
          </a:p>
        </p:txBody>
      </p:sp>
      <p:sp>
        <p:nvSpPr>
          <p:cNvPr id="38" name="Picture Placeholder 37">
            <a:extLst>
              <a:ext uri="{FF2B5EF4-FFF2-40B4-BE49-F238E27FC236}">
                <a16:creationId xmlns:a16="http://schemas.microsoft.com/office/drawing/2014/main" id="{F2647A36-7E8D-47F0-A946-F055E0F6A917}"/>
              </a:ext>
            </a:extLst>
          </p:cNvPr>
          <p:cNvSpPr>
            <a:spLocks noGrp="1" noChangeAspect="1"/>
          </p:cNvSpPr>
          <p:nvPr>
            <p:ph type="pic" sz="quarter" idx="16" hasCustomPrompt="1"/>
          </p:nvPr>
        </p:nvSpPr>
        <p:spPr bwMode="gray">
          <a:xfrm>
            <a:off x="7894702" y="2544540"/>
            <a:ext cx="1748782" cy="1755472"/>
          </a:xfrm>
          <a:custGeom>
            <a:avLst/>
            <a:gdLst>
              <a:gd name="connsiteX0" fmla="*/ 0 w 1533600"/>
              <a:gd name="connsiteY0" fmla="*/ 0 h 1533600"/>
              <a:gd name="connsiteX1" fmla="*/ 1533600 w 1533600"/>
              <a:gd name="connsiteY1" fmla="*/ 0 h 1533600"/>
              <a:gd name="connsiteX2" fmla="*/ 1533600 w 1533600"/>
              <a:gd name="connsiteY2" fmla="*/ 1533600 h 1533600"/>
              <a:gd name="connsiteX3" fmla="*/ 0 w 1533600"/>
              <a:gd name="connsiteY3" fmla="*/ 1533600 h 1533600"/>
            </a:gdLst>
            <a:ahLst/>
            <a:cxnLst>
              <a:cxn ang="0">
                <a:pos x="connsiteX0" y="connsiteY0"/>
              </a:cxn>
              <a:cxn ang="0">
                <a:pos x="connsiteX1" y="connsiteY1"/>
              </a:cxn>
              <a:cxn ang="0">
                <a:pos x="connsiteX2" y="connsiteY2"/>
              </a:cxn>
              <a:cxn ang="0">
                <a:pos x="connsiteX3" y="connsiteY3"/>
              </a:cxn>
            </a:cxnLst>
            <a:rect l="l" t="t" r="r" b="b"/>
            <a:pathLst>
              <a:path w="1533600" h="1533600">
                <a:moveTo>
                  <a:pt x="0" y="0"/>
                </a:moveTo>
                <a:lnTo>
                  <a:pt x="1533600" y="0"/>
                </a:lnTo>
                <a:lnTo>
                  <a:pt x="1533600" y="1533600"/>
                </a:lnTo>
                <a:lnTo>
                  <a:pt x="0" y="1533600"/>
                </a:lnTo>
                <a:close/>
              </a:path>
            </a:pathLst>
          </a:custGeom>
          <a:solidFill>
            <a:schemeClr val="bg1"/>
          </a:solidFill>
        </p:spPr>
        <p:txBody>
          <a:bodyPr wrap="square">
            <a:noAutofit/>
          </a:bodyPr>
          <a:lstStyle>
            <a:lvl1pPr rtl="0">
              <a:defRPr/>
            </a:lvl1pPr>
          </a:lstStyle>
          <a:p>
            <a:r>
              <a:rPr lang="en-US"/>
              <a:t> </a:t>
            </a:r>
          </a:p>
        </p:txBody>
      </p:sp>
      <p:sp>
        <p:nvSpPr>
          <p:cNvPr id="39" name="Picture Placeholder 38">
            <a:extLst>
              <a:ext uri="{FF2B5EF4-FFF2-40B4-BE49-F238E27FC236}">
                <a16:creationId xmlns:a16="http://schemas.microsoft.com/office/drawing/2014/main" id="{06985F6C-A55D-472E-93EC-2B31175068B6}"/>
              </a:ext>
            </a:extLst>
          </p:cNvPr>
          <p:cNvSpPr>
            <a:spLocks noGrp="1" noChangeAspect="1"/>
          </p:cNvSpPr>
          <p:nvPr>
            <p:ph type="pic" sz="quarter" idx="18" hasCustomPrompt="1"/>
          </p:nvPr>
        </p:nvSpPr>
        <p:spPr bwMode="gray">
          <a:xfrm>
            <a:off x="7893979" y="4296951"/>
            <a:ext cx="1748474" cy="2051596"/>
          </a:xfrm>
          <a:custGeom>
            <a:avLst/>
            <a:gdLst>
              <a:gd name="connsiteX0" fmla="*/ 0 w 1533330"/>
              <a:gd name="connsiteY0" fmla="*/ 0 h 1792297"/>
              <a:gd name="connsiteX1" fmla="*/ 1533330 w 1533330"/>
              <a:gd name="connsiteY1" fmla="*/ 0 h 1792297"/>
              <a:gd name="connsiteX2" fmla="*/ 1533330 w 1533330"/>
              <a:gd name="connsiteY2" fmla="*/ 1018229 h 1792297"/>
              <a:gd name="connsiteX3" fmla="*/ 763336 w 1533330"/>
              <a:gd name="connsiteY3" fmla="*/ 1792297 h 1792297"/>
              <a:gd name="connsiteX4" fmla="*/ 11976 w 1533330"/>
              <a:gd name="connsiteY4" fmla="*/ 1202578 h 1792297"/>
              <a:gd name="connsiteX5" fmla="*/ 0 w 1533330"/>
              <a:gd name="connsiteY5" fmla="*/ 1041257 h 17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330" h="1792297">
                <a:moveTo>
                  <a:pt x="0" y="0"/>
                </a:moveTo>
                <a:lnTo>
                  <a:pt x="1533330" y="0"/>
                </a:lnTo>
                <a:lnTo>
                  <a:pt x="1533330" y="1018229"/>
                </a:lnTo>
                <a:cubicBezTo>
                  <a:pt x="1533330" y="1543834"/>
                  <a:pt x="1236094" y="1792297"/>
                  <a:pt x="763336" y="1792297"/>
                </a:cubicBezTo>
                <a:cubicBezTo>
                  <a:pt x="354002" y="1792297"/>
                  <a:pt x="75265" y="1602553"/>
                  <a:pt x="11976" y="1202578"/>
                </a:cubicBezTo>
                <a:lnTo>
                  <a:pt x="0" y="1041257"/>
                </a:lnTo>
                <a:close/>
              </a:path>
            </a:pathLst>
          </a:custGeom>
          <a:solidFill>
            <a:schemeClr val="bg1"/>
          </a:solidFill>
        </p:spPr>
        <p:txBody>
          <a:bodyPr wrap="square">
            <a:noAutofit/>
          </a:bodyPr>
          <a:lstStyle>
            <a:lvl1pPr rtl="0">
              <a:defRPr/>
            </a:lvl1pPr>
          </a:lstStyle>
          <a:p>
            <a:r>
              <a:rPr lang="en-US"/>
              <a:t> </a:t>
            </a:r>
          </a:p>
        </p:txBody>
      </p:sp>
      <p:sp>
        <p:nvSpPr>
          <p:cNvPr id="40" name="Picture Placeholder 39">
            <a:extLst>
              <a:ext uri="{FF2B5EF4-FFF2-40B4-BE49-F238E27FC236}">
                <a16:creationId xmlns:a16="http://schemas.microsoft.com/office/drawing/2014/main" id="{3AB5984B-DD16-423C-81CC-26F1A173A0E0}"/>
              </a:ext>
            </a:extLst>
          </p:cNvPr>
          <p:cNvSpPr>
            <a:spLocks noGrp="1" noChangeAspect="1"/>
          </p:cNvSpPr>
          <p:nvPr>
            <p:ph type="pic" sz="quarter" idx="17" hasCustomPrompt="1"/>
          </p:nvPr>
        </p:nvSpPr>
        <p:spPr bwMode="gray">
          <a:xfrm>
            <a:off x="9639547" y="2544539"/>
            <a:ext cx="2042985" cy="1757008"/>
          </a:xfrm>
          <a:custGeom>
            <a:avLst/>
            <a:gdLst>
              <a:gd name="connsiteX0" fmla="*/ 0 w 1791602"/>
              <a:gd name="connsiteY0" fmla="*/ 0 h 1534942"/>
              <a:gd name="connsiteX1" fmla="*/ 1024194 w 1791602"/>
              <a:gd name="connsiteY1" fmla="*/ 0 h 1534942"/>
              <a:gd name="connsiteX2" fmla="*/ 1201826 w 1791602"/>
              <a:gd name="connsiteY2" fmla="*/ 13201 h 1534942"/>
              <a:gd name="connsiteX3" fmla="*/ 1791601 w 1791602"/>
              <a:gd name="connsiteY3" fmla="*/ 770011 h 1534942"/>
              <a:gd name="connsiteX4" fmla="*/ 1017419 w 1791602"/>
              <a:gd name="connsiteY4" fmla="*/ 1534942 h 1534942"/>
              <a:gd name="connsiteX5" fmla="*/ 0 w 1791602"/>
              <a:gd name="connsiteY5" fmla="*/ 1534942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02" h="1534942">
                <a:moveTo>
                  <a:pt x="0" y="0"/>
                </a:moveTo>
                <a:lnTo>
                  <a:pt x="1024194" y="0"/>
                </a:lnTo>
                <a:lnTo>
                  <a:pt x="1201826" y="13201"/>
                </a:lnTo>
                <a:cubicBezTo>
                  <a:pt x="1601996" y="76602"/>
                  <a:pt x="1792268" y="356075"/>
                  <a:pt x="1791601" y="770011"/>
                </a:cubicBezTo>
                <a:cubicBezTo>
                  <a:pt x="1791601" y="1237751"/>
                  <a:pt x="1543608" y="1534942"/>
                  <a:pt x="1017419" y="1534942"/>
                </a:cubicBezTo>
                <a:lnTo>
                  <a:pt x="0" y="1534942"/>
                </a:lnTo>
                <a:close/>
              </a:path>
            </a:pathLst>
          </a:custGeom>
          <a:solidFill>
            <a:schemeClr val="bg1"/>
          </a:solidFill>
        </p:spPr>
        <p:txBody>
          <a:bodyPr wrap="square">
            <a:noAutofit/>
          </a:bodyPr>
          <a:lstStyle>
            <a:lvl1pPr rtl="0">
              <a:defRPr/>
            </a:lvl1pPr>
          </a:lstStyle>
          <a:p>
            <a:r>
              <a:rPr lang="en-US"/>
              <a:t> </a:t>
            </a:r>
          </a:p>
        </p:txBody>
      </p:sp>
      <p:pic>
        <p:nvPicPr>
          <p:cNvPr id="6" name="Picture 2" descr="Unite_Mercateo_logo landscape_white_RGB@5x">
            <a:extLst>
              <a:ext uri="{FF2B5EF4-FFF2-40B4-BE49-F238E27FC236}">
                <a16:creationId xmlns:a16="http://schemas.microsoft.com/office/drawing/2014/main" id="{4A41A38E-CA19-6CEF-19FC-262A749B9C7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51317" y="363465"/>
            <a:ext cx="4129237" cy="1097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4604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Key statement + copy w/ image gradient">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EE925E2-5C9A-4900-9131-F06D3076DE99}"/>
              </a:ext>
            </a:extLst>
          </p:cNvPr>
          <p:cNvGraphicFramePr>
            <a:graphicFrameLocks noChangeAspect="1"/>
          </p:cNvGraphicFramePr>
          <p:nvPr>
            <p:custDataLst>
              <p:tags r:id="rId1"/>
            </p:custDataLst>
            <p:extLst>
              <p:ext uri="{D42A27DB-BD31-4B8C-83A1-F6EECF244321}">
                <p14:modId xmlns:p14="http://schemas.microsoft.com/office/powerpoint/2010/main" val="418719552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EE925E2-5C9A-4900-9131-F06D3076DE99}"/>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CDB308D-6432-41D9-A1BC-5552744070E6}"/>
              </a:ext>
            </a:extLst>
          </p:cNvPr>
          <p:cNvSpPr/>
          <p:nvPr/>
        </p:nvSpPr>
        <p:spPr bwMode="gray">
          <a:xfrm>
            <a:off x="1" y="1"/>
            <a:ext cx="8160583"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8160585" y="1"/>
            <a:ext cx="4031416" cy="6858000"/>
          </a:xfrm>
          <a:solidFill>
            <a:schemeClr val="bg2"/>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7045473"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tIns="36000"/>
          <a:lstStyle>
            <a:lvl1pPr rtl="0">
              <a:lnSpc>
                <a:spcPct val="100000"/>
              </a:lnSpc>
              <a:defRPr sz="2737" b="0">
                <a:solidFill>
                  <a:schemeClr val="bg2"/>
                </a:solidFill>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46305" indent="-246305">
              <a:defRPr/>
            </a:lvl3pPr>
            <a:lvl4pPr marL="492610" indent="-246305">
              <a:defRPr/>
            </a:lvl4pPr>
            <a:lvl5pPr marL="738914">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4" y="1666345"/>
            <a:ext cx="3222236" cy="4121342"/>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46305" indent="-246305" rtl="0">
              <a:spcBef>
                <a:spcPts val="684"/>
              </a:spcBef>
              <a:buClr>
                <a:schemeClr val="bg2"/>
              </a:buClr>
              <a:buFont typeface="UniteFont" panose="02000509000000000000" pitchFamily="49" charset="0"/>
              <a:buChar char="&gt;"/>
              <a:defRPr>
                <a:solidFill>
                  <a:schemeClr val="bg2"/>
                </a:solidFill>
              </a:defRPr>
            </a:lvl3pPr>
            <a:lvl4pPr marL="492610" indent="-246305" rtl="0">
              <a:spcBef>
                <a:spcPts val="684"/>
              </a:spcBef>
              <a:buClr>
                <a:schemeClr val="bg2"/>
              </a:buClr>
              <a:buFont typeface="UniteFont" panose="02000509000000000000" pitchFamily="49" charset="0"/>
              <a:buChar char="&gt;"/>
              <a:defRPr>
                <a:solidFill>
                  <a:schemeClr val="bg2"/>
                </a:solidFill>
              </a:defRPr>
            </a:lvl4pPr>
            <a:lvl5pPr marL="738914" indent="-246305" rtl="0">
              <a:spcBef>
                <a:spcPts val="684"/>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pic>
        <p:nvPicPr>
          <p:cNvPr id="10" name="Picture 2" descr="Unite_Mercateo_logo landscape_white_RGB@5x">
            <a:extLst>
              <a:ext uri="{FF2B5EF4-FFF2-40B4-BE49-F238E27FC236}">
                <a16:creationId xmlns:a16="http://schemas.microsoft.com/office/drawing/2014/main" id="{C0DCFDB3-CF2F-865F-74E5-B32E0E71CF3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7428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ody copy 3 columns ">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4870DA0-D6FB-4F9A-A135-DEDBF34A8E3C}"/>
              </a:ext>
            </a:extLst>
          </p:cNvPr>
          <p:cNvGraphicFramePr>
            <a:graphicFrameLocks noChangeAspect="1"/>
          </p:cNvGraphicFramePr>
          <p:nvPr>
            <p:custDataLst>
              <p:tags r:id="rId1"/>
            </p:custDataLst>
            <p:extLst>
              <p:ext uri="{D42A27DB-BD31-4B8C-83A1-F6EECF244321}">
                <p14:modId xmlns:p14="http://schemas.microsoft.com/office/powerpoint/2010/main" val="17543123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4870DA0-D6FB-4F9A-A135-DEDBF34A8E3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5" y="1666345"/>
            <a:ext cx="3558941"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8160583" y="1666345"/>
            <a:ext cx="3537219" cy="4121341"/>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264893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dy copy 3 columns w/ benefi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0EAD2EA-11FE-4532-B6AD-2336AD636FD2}"/>
              </a:ext>
            </a:extLst>
          </p:cNvPr>
          <p:cNvGraphicFramePr>
            <a:graphicFrameLocks noChangeAspect="1"/>
          </p:cNvGraphicFramePr>
          <p:nvPr>
            <p:custDataLst>
              <p:tags r:id="rId1"/>
            </p:custDataLst>
            <p:extLst>
              <p:ext uri="{D42A27DB-BD31-4B8C-83A1-F6EECF244321}">
                <p14:modId xmlns:p14="http://schemas.microsoft.com/office/powerpoint/2010/main" val="309795987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F0EAD2EA-11FE-4532-B6AD-2336AD636FD2}"/>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5" y="1666345"/>
            <a:ext cx="3558941"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8160583" y="1666345"/>
            <a:ext cx="3537219" cy="4121341"/>
          </a:xfrm>
        </p:spPr>
        <p:txBody>
          <a:bodyPr/>
          <a:lstStyle>
            <a:lvl1pPr rtl="0">
              <a:defRPr b="1"/>
            </a:lvl1pPr>
            <a:lvl2pPr marL="0" indent="0" rtl="0">
              <a:buFont typeface="Arial" panose="020B0604020202020204" pitchFamily="34" charset="0"/>
              <a:buNone/>
              <a:defRPr/>
            </a:lvl2pPr>
            <a:lvl3pPr marL="246305" indent="-246305" rtl="0">
              <a:spcBef>
                <a:spcPts val="684"/>
              </a:spcBef>
              <a:buFont typeface="UniteFont" panose="02000509000000000000" pitchFamily="49" charset="0"/>
              <a:buChar char="+"/>
              <a:defRPr/>
            </a:lvl3pPr>
            <a:lvl4pPr marL="492610" indent="-246305" rtl="0">
              <a:spcBef>
                <a:spcPts val="684"/>
              </a:spcBef>
              <a:buFont typeface="UniteFont" panose="02000509000000000000" pitchFamily="49" charset="0"/>
              <a:buChar char="+"/>
              <a:defRPr/>
            </a:lvl4pPr>
            <a:lvl5pPr marL="738914" indent="-246305" rtl="0">
              <a:spcBef>
                <a:spcPts val="684"/>
              </a:spcBef>
              <a:buFont typeface="UniteFont" panose="02000509000000000000" pitchFamily="49" charset="0"/>
              <a:buChar char="+"/>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5078188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ody copy 1 column white w/ gradi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C110A3-020B-4A96-AA93-F1E3B72F5974}"/>
              </a:ext>
            </a:extLst>
          </p:cNvPr>
          <p:cNvGraphicFramePr>
            <a:graphicFrameLocks noChangeAspect="1"/>
          </p:cNvGraphicFramePr>
          <p:nvPr>
            <p:custDataLst>
              <p:tags r:id="rId1"/>
            </p:custDataLst>
            <p:extLst>
              <p:ext uri="{D42A27DB-BD31-4B8C-83A1-F6EECF244321}">
                <p14:modId xmlns:p14="http://schemas.microsoft.com/office/powerpoint/2010/main" val="67873368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5C110A3-020B-4A96-AA93-F1E3B72F597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11A4799-F0B7-48F1-8C41-F33DFD634799}"/>
              </a:ext>
            </a:extLst>
          </p:cNvPr>
          <p:cNvSpPr/>
          <p:nvPr/>
        </p:nvSpPr>
        <p:spPr bwMode="gray">
          <a:xfrm>
            <a:off x="6096000" y="1"/>
            <a:ext cx="6096001"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5112132"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9" y="1666345"/>
            <a:ext cx="5112130"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228397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ody copy 2 columns w/ image white 50/5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EFE0DB-62DC-4077-8AD6-2D264465AD50}"/>
              </a:ext>
            </a:extLst>
          </p:cNvPr>
          <p:cNvGraphicFramePr>
            <a:graphicFrameLocks noChangeAspect="1"/>
          </p:cNvGraphicFramePr>
          <p:nvPr>
            <p:custDataLst>
              <p:tags r:id="rId1"/>
            </p:custDataLst>
            <p:extLst>
              <p:ext uri="{D42A27DB-BD31-4B8C-83A1-F6EECF244321}">
                <p14:modId xmlns:p14="http://schemas.microsoft.com/office/powerpoint/2010/main" val="74829626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95EFE0DB-62DC-4077-8AD6-2D264465AD5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6096000" y="1"/>
            <a:ext cx="6096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4780857"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2199448"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073796" y="1666345"/>
            <a:ext cx="2199448"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4084042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Reference slid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715CA73-2560-4FF9-B7A0-C378E9B5465B}"/>
              </a:ext>
            </a:extLst>
          </p:cNvPr>
          <p:cNvGraphicFramePr>
            <a:graphicFrameLocks noChangeAspect="1"/>
          </p:cNvGraphicFramePr>
          <p:nvPr>
            <p:custDataLst>
              <p:tags r:id="rId1"/>
            </p:custDataLst>
            <p:extLst>
              <p:ext uri="{D42A27DB-BD31-4B8C-83A1-F6EECF244321}">
                <p14:modId xmlns:p14="http://schemas.microsoft.com/office/powerpoint/2010/main" val="310761987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8715CA73-2560-4FF9-B7A0-C378E9B5465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4493027"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7B9B0638-B929-4BE2-B46B-E631233D1401}"/>
              </a:ext>
            </a:extLst>
          </p:cNvPr>
          <p:cNvSpPr>
            <a:spLocks noGrp="1"/>
          </p:cNvSpPr>
          <p:nvPr>
            <p:ph type="body" sz="quarter" idx="14" hasCustomPrompt="1"/>
          </p:nvPr>
        </p:nvSpPr>
        <p:spPr bwMode="gray">
          <a:xfrm>
            <a:off x="6248966" y="1666346"/>
            <a:ext cx="5448837" cy="230612"/>
          </a:xfrm>
        </p:spPr>
        <p:txBody>
          <a:bodyPr>
            <a:noAutofit/>
          </a:bodyPr>
          <a:lstStyle>
            <a:lvl1pPr rtl="0">
              <a:defRPr/>
            </a:lvl1pPr>
          </a:lstStyle>
          <a:p>
            <a:pPr lvl="0"/>
            <a:r>
              <a:rPr lang="en-US"/>
              <a:t>Reference</a:t>
            </a:r>
          </a:p>
        </p:txBody>
      </p:sp>
      <p:sp>
        <p:nvSpPr>
          <p:cNvPr id="10" name="Picture Placeholder 9">
            <a:extLst>
              <a:ext uri="{FF2B5EF4-FFF2-40B4-BE49-F238E27FC236}">
                <a16:creationId xmlns:a16="http://schemas.microsoft.com/office/drawing/2014/main" id="{F41FD802-CE25-4121-9351-10F94FE70967}"/>
              </a:ext>
            </a:extLst>
          </p:cNvPr>
          <p:cNvSpPr>
            <a:spLocks noGrp="1"/>
          </p:cNvSpPr>
          <p:nvPr>
            <p:ph type="pic" sz="quarter" idx="15" hasCustomPrompt="1"/>
          </p:nvPr>
        </p:nvSpPr>
        <p:spPr bwMode="gray">
          <a:xfrm>
            <a:off x="6248966" y="2197039"/>
            <a:ext cx="1625600" cy="782957"/>
          </a:xfrm>
          <a:solidFill>
            <a:srgbClr val="F0F0F2"/>
          </a:solidFill>
        </p:spPr>
        <p:txBody>
          <a:bodyPr/>
          <a:lstStyle>
            <a:lvl1pPr rtl="0">
              <a:defRPr/>
            </a:lvl1pPr>
          </a:lstStyle>
          <a:p>
            <a:r>
              <a:rPr lang="en-US"/>
              <a:t> </a:t>
            </a:r>
          </a:p>
        </p:txBody>
      </p:sp>
      <p:sp>
        <p:nvSpPr>
          <p:cNvPr id="12" name="Picture Placeholder 11">
            <a:extLst>
              <a:ext uri="{FF2B5EF4-FFF2-40B4-BE49-F238E27FC236}">
                <a16:creationId xmlns:a16="http://schemas.microsoft.com/office/drawing/2014/main" id="{FA3F7728-3A6D-47FA-A470-5F2461B69857}"/>
              </a:ext>
            </a:extLst>
          </p:cNvPr>
          <p:cNvSpPr>
            <a:spLocks noGrp="1"/>
          </p:cNvSpPr>
          <p:nvPr>
            <p:ph type="pic" sz="quarter" idx="16" hasCustomPrompt="1"/>
          </p:nvPr>
        </p:nvSpPr>
        <p:spPr bwMode="gray">
          <a:xfrm>
            <a:off x="8160584" y="2197039"/>
            <a:ext cx="1625599" cy="782957"/>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1C195223-5DC7-475A-B397-35D0A6DAD3CD}"/>
              </a:ext>
            </a:extLst>
          </p:cNvPr>
          <p:cNvSpPr>
            <a:spLocks noGrp="1"/>
          </p:cNvSpPr>
          <p:nvPr>
            <p:ph type="pic" sz="quarter" idx="17" hasCustomPrompt="1"/>
          </p:nvPr>
        </p:nvSpPr>
        <p:spPr bwMode="gray">
          <a:xfrm>
            <a:off x="10072202" y="2197039"/>
            <a:ext cx="1625628" cy="782957"/>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57E002BB-76E9-4F87-A8F1-B5AD95AD5958}"/>
              </a:ext>
            </a:extLst>
          </p:cNvPr>
          <p:cNvSpPr>
            <a:spLocks noGrp="1"/>
          </p:cNvSpPr>
          <p:nvPr>
            <p:ph type="pic" sz="quarter" idx="18" hasCustomPrompt="1"/>
          </p:nvPr>
        </p:nvSpPr>
        <p:spPr bwMode="gray">
          <a:xfrm>
            <a:off x="6248966" y="3264949"/>
            <a:ext cx="1625628" cy="782957"/>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B3FBA5F9-FF48-4BD2-8AF9-5EFCE19C5419}"/>
              </a:ext>
            </a:extLst>
          </p:cNvPr>
          <p:cNvSpPr>
            <a:spLocks noGrp="1"/>
          </p:cNvSpPr>
          <p:nvPr>
            <p:ph type="pic" sz="quarter" idx="19" hasCustomPrompt="1"/>
          </p:nvPr>
        </p:nvSpPr>
        <p:spPr bwMode="gray">
          <a:xfrm>
            <a:off x="8160584" y="3264949"/>
            <a:ext cx="1625628" cy="782957"/>
          </a:xfrm>
          <a:solidFill>
            <a:srgbClr val="F0F0F2"/>
          </a:solidFill>
        </p:spPr>
        <p:txBody>
          <a:bodyPr/>
          <a:lstStyle>
            <a:lvl1pPr rtl="0">
              <a:defRPr/>
            </a:lvl1pPr>
          </a:lstStyle>
          <a:p>
            <a:r>
              <a:rPr lang="en-US"/>
              <a:t> </a:t>
            </a:r>
          </a:p>
        </p:txBody>
      </p:sp>
      <p:sp>
        <p:nvSpPr>
          <p:cNvPr id="20" name="Picture Placeholder 19">
            <a:extLst>
              <a:ext uri="{FF2B5EF4-FFF2-40B4-BE49-F238E27FC236}">
                <a16:creationId xmlns:a16="http://schemas.microsoft.com/office/drawing/2014/main" id="{3B2B5B43-01B1-4494-880C-812F142D1DA5}"/>
              </a:ext>
            </a:extLst>
          </p:cNvPr>
          <p:cNvSpPr>
            <a:spLocks noGrp="1"/>
          </p:cNvSpPr>
          <p:nvPr>
            <p:ph type="pic" sz="quarter" idx="20" hasCustomPrompt="1"/>
          </p:nvPr>
        </p:nvSpPr>
        <p:spPr bwMode="gray">
          <a:xfrm>
            <a:off x="10072202" y="3264949"/>
            <a:ext cx="1625628" cy="782957"/>
          </a:xfrm>
          <a:solidFill>
            <a:srgbClr val="F0F0F2"/>
          </a:solidFill>
        </p:spPr>
        <p:txBody>
          <a:bodyPr/>
          <a:lstStyle>
            <a:lvl1pPr rtl="0">
              <a:defRPr/>
            </a:lvl1pPr>
          </a:lstStyle>
          <a:p>
            <a:r>
              <a:rPr lang="en-US"/>
              <a:t> </a:t>
            </a:r>
          </a:p>
        </p:txBody>
      </p:sp>
      <p:sp>
        <p:nvSpPr>
          <p:cNvPr id="22" name="Picture Placeholder 21">
            <a:extLst>
              <a:ext uri="{FF2B5EF4-FFF2-40B4-BE49-F238E27FC236}">
                <a16:creationId xmlns:a16="http://schemas.microsoft.com/office/drawing/2014/main" id="{3B07A90B-C31A-474F-98C1-4E65ECE2896A}"/>
              </a:ext>
            </a:extLst>
          </p:cNvPr>
          <p:cNvSpPr>
            <a:spLocks noGrp="1"/>
          </p:cNvSpPr>
          <p:nvPr>
            <p:ph type="pic" sz="quarter" idx="21" hasCustomPrompt="1"/>
          </p:nvPr>
        </p:nvSpPr>
        <p:spPr bwMode="gray">
          <a:xfrm>
            <a:off x="6248966" y="4332860"/>
            <a:ext cx="1625628" cy="782957"/>
          </a:xfrm>
          <a:solidFill>
            <a:srgbClr val="F0F0F2"/>
          </a:solidFill>
        </p:spPr>
        <p:txBody>
          <a:bodyPr/>
          <a:lstStyle>
            <a:lvl1pPr rtl="0">
              <a:defRPr/>
            </a:lvl1pPr>
          </a:lstStyle>
          <a:p>
            <a:r>
              <a:rPr lang="en-US"/>
              <a:t> </a:t>
            </a:r>
          </a:p>
        </p:txBody>
      </p:sp>
      <p:sp>
        <p:nvSpPr>
          <p:cNvPr id="24" name="Picture Placeholder 23">
            <a:extLst>
              <a:ext uri="{FF2B5EF4-FFF2-40B4-BE49-F238E27FC236}">
                <a16:creationId xmlns:a16="http://schemas.microsoft.com/office/drawing/2014/main" id="{EBFAEB7D-1834-4A64-98DA-356E2A328B90}"/>
              </a:ext>
            </a:extLst>
          </p:cNvPr>
          <p:cNvSpPr>
            <a:spLocks noGrp="1"/>
          </p:cNvSpPr>
          <p:nvPr>
            <p:ph type="pic" sz="quarter" idx="22" hasCustomPrompt="1"/>
          </p:nvPr>
        </p:nvSpPr>
        <p:spPr bwMode="gray">
          <a:xfrm>
            <a:off x="8160584" y="4332860"/>
            <a:ext cx="1625628" cy="782957"/>
          </a:xfrm>
          <a:solidFill>
            <a:srgbClr val="F0F0F2"/>
          </a:solidFill>
        </p:spPr>
        <p:txBody>
          <a:bodyPr/>
          <a:lstStyle>
            <a:lvl1pPr rtl="0">
              <a:defRPr/>
            </a:lvl1pPr>
          </a:lstStyle>
          <a:p>
            <a:r>
              <a:rPr lang="en-US"/>
              <a:t> </a:t>
            </a:r>
          </a:p>
        </p:txBody>
      </p:sp>
      <p:sp>
        <p:nvSpPr>
          <p:cNvPr id="26" name="Picture Placeholder 25">
            <a:extLst>
              <a:ext uri="{FF2B5EF4-FFF2-40B4-BE49-F238E27FC236}">
                <a16:creationId xmlns:a16="http://schemas.microsoft.com/office/drawing/2014/main" id="{4D76A67E-CF5C-450D-BBDB-11CD97C74115}"/>
              </a:ext>
            </a:extLst>
          </p:cNvPr>
          <p:cNvSpPr>
            <a:spLocks noGrp="1"/>
          </p:cNvSpPr>
          <p:nvPr>
            <p:ph type="pic" sz="quarter" idx="23" hasCustomPrompt="1"/>
          </p:nvPr>
        </p:nvSpPr>
        <p:spPr bwMode="gray">
          <a:xfrm>
            <a:off x="10072202" y="4332860"/>
            <a:ext cx="1625628" cy="782957"/>
          </a:xfrm>
          <a:solidFill>
            <a:srgbClr val="F0F0F2"/>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FE5749B4-7C72-4129-8F4A-4FA6F55889ED}"/>
              </a:ext>
            </a:extLst>
          </p:cNvPr>
          <p:cNvSpPr>
            <a:spLocks noGrp="1"/>
          </p:cNvSpPr>
          <p:nvPr>
            <p:ph type="pic" sz="quarter" idx="24" hasCustomPrompt="1"/>
          </p:nvPr>
        </p:nvSpPr>
        <p:spPr>
          <a:xfrm>
            <a:off x="6248966" y="496088"/>
            <a:ext cx="2581409" cy="632375"/>
          </a:xfrm>
        </p:spPr>
        <p:txBody>
          <a:bodyPr/>
          <a:lstStyle>
            <a:lvl1pPr>
              <a:defRPr/>
            </a:lvl1pPr>
          </a:lstStyle>
          <a:p>
            <a:r>
              <a:rPr lang="en-US"/>
              <a:t> </a:t>
            </a:r>
          </a:p>
        </p:txBody>
      </p:sp>
    </p:spTree>
    <p:extLst>
      <p:ext uri="{BB962C8B-B14F-4D97-AF65-F5344CB8AC3E}">
        <p14:creationId xmlns:p14="http://schemas.microsoft.com/office/powerpoint/2010/main" val="36204918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dy copy 2 columns  w/ benefits le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D14AB8C-1509-4E55-9412-6381FB79712D}"/>
              </a:ext>
            </a:extLst>
          </p:cNvPr>
          <p:cNvGraphicFramePr>
            <a:graphicFrameLocks noChangeAspect="1"/>
          </p:cNvGraphicFramePr>
          <p:nvPr>
            <p:custDataLst>
              <p:tags r:id="rId1"/>
            </p:custDataLst>
            <p:extLst>
              <p:ext uri="{D42A27DB-BD31-4B8C-83A1-F6EECF244321}">
                <p14:modId xmlns:p14="http://schemas.microsoft.com/office/powerpoint/2010/main" val="232658502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CD14AB8C-1509-4E55-9412-6381FB79712D}"/>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lnSpc>
                <a:spcPct val="120000"/>
              </a:lnSpc>
              <a:defRPr sz="1824" b="0">
                <a:latin typeface="Poppins Medium" panose="00000600000000000000" pitchFamily="2" charset="0"/>
                <a:cs typeface="Poppins Medium" panose="00000600000000000000" pitchFamily="2" charset="0"/>
              </a:defRPr>
            </a:lvl1pPr>
            <a:lvl2pPr marL="0" indent="0" rtl="0">
              <a:spcBef>
                <a:spcPts val="1710"/>
              </a:spcBef>
              <a:buFont typeface="Arial" panose="020B0604020202020204" pitchFamily="34" charset="0"/>
              <a:buNone/>
              <a:defRPr/>
            </a:lvl2pPr>
            <a:lvl3pPr marL="246305" indent="-246305" rtl="0">
              <a:spcBef>
                <a:spcPts val="684"/>
              </a:spcBef>
              <a:buFont typeface="UniteFont" panose="02000509000000000000" pitchFamily="49" charset="0"/>
              <a:buChar char="+"/>
              <a:defRPr/>
            </a:lvl3pPr>
            <a:lvl4pPr marL="492610" indent="-246305" rtl="0">
              <a:spcBef>
                <a:spcPts val="684"/>
              </a:spcBef>
              <a:buFont typeface="UniteFont" panose="02000509000000000000" pitchFamily="49" charset="0"/>
              <a:buChar char="+"/>
              <a:defRPr/>
            </a:lvl4pPr>
            <a:lvl5pPr marL="738914" indent="-246305" rtl="0">
              <a:spcBef>
                <a:spcPts val="684"/>
              </a:spcBef>
              <a:buFont typeface="UniteFont" panose="02000509000000000000" pitchFamily="49" charset="0"/>
              <a:buChar char="+"/>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273245" y="1666345"/>
            <a:ext cx="4512940" cy="4121342"/>
          </a:xfrm>
        </p:spPr>
        <p:txBody>
          <a:bodyPr/>
          <a:lstStyle>
            <a:lvl1pPr rtl="0">
              <a:lnSpc>
                <a:spcPct val="120000"/>
              </a:lnSpc>
              <a:defRPr sz="1824" b="0">
                <a:latin typeface="Poppins Medium" panose="00000600000000000000" pitchFamily="2" charset="0"/>
                <a:cs typeface="Poppins Medium" panose="00000600000000000000" pitchFamily="2" charset="0"/>
              </a:defRPr>
            </a:lvl1pPr>
            <a:lvl2pPr marL="0" indent="0" rtl="0">
              <a:spcBef>
                <a:spcPts val="1710"/>
              </a:spcBef>
              <a:buFont typeface="Arial" panose="020B0604020202020204" pitchFamily="34" charset="0"/>
              <a:buNone/>
              <a:defRPr/>
            </a:lvl2pPr>
            <a:lvl3pPr marL="246305" indent="-246305" rtl="0">
              <a:spcBef>
                <a:spcPts val="684"/>
              </a:spcBef>
              <a:buFont typeface="UniteFont" panose="02000509000000000000" pitchFamily="49" charset="0"/>
              <a:buChar char="&gt;"/>
              <a:defRPr/>
            </a:lvl3pPr>
            <a:lvl4pPr marL="492610" indent="-246305" rtl="0">
              <a:spcBef>
                <a:spcPts val="684"/>
              </a:spcBef>
              <a:buFont typeface="UniteFont" panose="02000509000000000000" pitchFamily="49" charset="0"/>
              <a:buChar char="&gt;"/>
              <a:defRPr/>
            </a:lvl4pPr>
            <a:lvl5pPr marL="738914" indent="-246305" rtl="0">
              <a:spcBef>
                <a:spcPts val="684"/>
              </a:spcBef>
              <a:buFont typeface="UniteFont" panose="02000509000000000000" pitchFamily="49" charset="0"/>
              <a:buChar char="&gt;"/>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3487195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s w/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8F1ED4E-3E9B-4614-91A8-F206421B1A38}"/>
              </a:ext>
            </a:extLst>
          </p:cNvPr>
          <p:cNvGraphicFramePr>
            <a:graphicFrameLocks noChangeAspect="1"/>
          </p:cNvGraphicFramePr>
          <p:nvPr>
            <p:custDataLst>
              <p:tags r:id="rId1"/>
            </p:custDataLst>
            <p:extLst>
              <p:ext uri="{D42A27DB-BD31-4B8C-83A1-F6EECF244321}">
                <p14:modId xmlns:p14="http://schemas.microsoft.com/office/powerpoint/2010/main" val="151164872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8F1ED4E-3E9B-4614-91A8-F206421B1A3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63DAE-541D-401D-92F6-286DEE8B8015}"/>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478E5410-E6A1-4CD8-9A3B-BB42F65568AE}"/>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735BCAFF-5D9F-409D-B224-344F70C34993}"/>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FA77BD11-B8D1-459B-AA22-00A4A0C0E0E3}"/>
              </a:ext>
            </a:extLst>
          </p:cNvPr>
          <p:cNvSpPr>
            <a:spLocks noGrp="1"/>
          </p:cNvSpPr>
          <p:nvPr>
            <p:ph type="body" sz="quarter" idx="13" hasCustomPrompt="1"/>
          </p:nvPr>
        </p:nvSpPr>
        <p:spPr bwMode="gray">
          <a:xfrm>
            <a:off x="492387" y="1666345"/>
            <a:ext cx="669791" cy="734407"/>
          </a:xfrm>
        </p:spPr>
        <p:txBody>
          <a:bodyPr>
            <a:noAutofit/>
          </a:bodyPr>
          <a:lstStyle>
            <a:lvl1pPr rtl="0">
              <a:lnSpc>
                <a:spcPct val="120000"/>
              </a:lnSpc>
              <a:defRPr sz="3421">
                <a:latin typeface="Poppins Medium" panose="00000600000000000000" pitchFamily="2" charset="0"/>
                <a:cs typeface="Poppins Medium" panose="00000600000000000000" pitchFamily="2" charset="0"/>
              </a:defRPr>
            </a:lvl1pPr>
          </a:lstStyle>
          <a:p>
            <a:pPr lvl="0"/>
            <a:r>
              <a:rPr lang="en-US"/>
              <a:t>1.</a:t>
            </a:r>
          </a:p>
        </p:txBody>
      </p:sp>
      <p:sp>
        <p:nvSpPr>
          <p:cNvPr id="9" name="Text Placeholder 8">
            <a:extLst>
              <a:ext uri="{FF2B5EF4-FFF2-40B4-BE49-F238E27FC236}">
                <a16:creationId xmlns:a16="http://schemas.microsoft.com/office/drawing/2014/main" id="{4D776FB7-C940-46F7-9887-948B8AFE9AA9}"/>
              </a:ext>
            </a:extLst>
          </p:cNvPr>
          <p:cNvSpPr>
            <a:spLocks noGrp="1"/>
          </p:cNvSpPr>
          <p:nvPr>
            <p:ph type="body" sz="quarter" idx="14"/>
          </p:nvPr>
        </p:nvSpPr>
        <p:spPr bwMode="gray">
          <a:xfrm>
            <a:off x="1162177" y="1666345"/>
            <a:ext cx="4780857" cy="734407"/>
          </a:xfrm>
        </p:spPr>
        <p:txBody>
          <a:bodyPr>
            <a:noAutofit/>
          </a:bodyPr>
          <a:lstStyle>
            <a:lvl1pPr rtl="0">
              <a:defRPr/>
            </a:lvl1pPr>
          </a:lstStyle>
          <a:p>
            <a:pPr lvl="0"/>
            <a:r>
              <a:rPr lang="nl-NL"/>
              <a:t>Klikken om de tekststijl van het model te bewerken</a:t>
            </a:r>
          </a:p>
        </p:txBody>
      </p:sp>
      <p:sp>
        <p:nvSpPr>
          <p:cNvPr id="11" name="Text Placeholder 10">
            <a:extLst>
              <a:ext uri="{FF2B5EF4-FFF2-40B4-BE49-F238E27FC236}">
                <a16:creationId xmlns:a16="http://schemas.microsoft.com/office/drawing/2014/main" id="{C2ACF75D-9F02-4A92-BFD8-344AC61BB71A}"/>
              </a:ext>
            </a:extLst>
          </p:cNvPr>
          <p:cNvSpPr>
            <a:spLocks noGrp="1"/>
          </p:cNvSpPr>
          <p:nvPr>
            <p:ph type="body" sz="quarter" idx="15" hasCustomPrompt="1"/>
          </p:nvPr>
        </p:nvSpPr>
        <p:spPr bwMode="gray">
          <a:xfrm>
            <a:off x="6248966" y="1666345"/>
            <a:ext cx="669791" cy="734407"/>
          </a:xfrm>
        </p:spPr>
        <p:txBody>
          <a:bodyPr>
            <a:noAutofit/>
          </a:bodyPr>
          <a:lstStyle>
            <a:lvl1pPr rtl="0">
              <a:lnSpc>
                <a:spcPct val="120000"/>
              </a:lnSpc>
              <a:defRPr sz="3421">
                <a:latin typeface="Poppins Medium" panose="00000600000000000000" pitchFamily="2" charset="0"/>
                <a:cs typeface="Poppins Medium" panose="00000600000000000000" pitchFamily="2" charset="0"/>
              </a:defRPr>
            </a:lvl1pPr>
          </a:lstStyle>
          <a:p>
            <a:pPr lvl="0"/>
            <a:r>
              <a:rPr lang="en-US"/>
              <a:t>2.</a:t>
            </a:r>
          </a:p>
        </p:txBody>
      </p:sp>
      <p:sp>
        <p:nvSpPr>
          <p:cNvPr id="13" name="Text Placeholder 12">
            <a:extLst>
              <a:ext uri="{FF2B5EF4-FFF2-40B4-BE49-F238E27FC236}">
                <a16:creationId xmlns:a16="http://schemas.microsoft.com/office/drawing/2014/main" id="{5DBD01DD-7C8B-4D4F-864D-56EAD46A585B}"/>
              </a:ext>
            </a:extLst>
          </p:cNvPr>
          <p:cNvSpPr>
            <a:spLocks noGrp="1"/>
          </p:cNvSpPr>
          <p:nvPr>
            <p:ph type="body" sz="quarter" idx="16"/>
          </p:nvPr>
        </p:nvSpPr>
        <p:spPr bwMode="gray">
          <a:xfrm>
            <a:off x="6918756" y="1666345"/>
            <a:ext cx="4779045" cy="734407"/>
          </a:xfrm>
        </p:spPr>
        <p:txBody>
          <a:bodyPr>
            <a:noAutofit/>
          </a:bodyPr>
          <a:lstStyle>
            <a:lvl1pPr rtl="0">
              <a:defRPr/>
            </a:lvl1pPr>
          </a:lstStyle>
          <a:p>
            <a:pPr lvl="0"/>
            <a:r>
              <a:rPr lang="nl-NL"/>
              <a:t>Klikken om de tekststijl van het model te bewerken</a:t>
            </a:r>
          </a:p>
        </p:txBody>
      </p:sp>
      <p:sp>
        <p:nvSpPr>
          <p:cNvPr id="15" name="Picture Placeholder 14">
            <a:extLst>
              <a:ext uri="{FF2B5EF4-FFF2-40B4-BE49-F238E27FC236}">
                <a16:creationId xmlns:a16="http://schemas.microsoft.com/office/drawing/2014/main" id="{AEE884FF-E010-41C0-9813-43306802C365}"/>
              </a:ext>
            </a:extLst>
          </p:cNvPr>
          <p:cNvSpPr>
            <a:spLocks noGrp="1"/>
          </p:cNvSpPr>
          <p:nvPr>
            <p:ph type="pic" sz="quarter" idx="17" hasCustomPrompt="1"/>
          </p:nvPr>
        </p:nvSpPr>
        <p:spPr bwMode="gray">
          <a:xfrm>
            <a:off x="492387" y="2738839"/>
            <a:ext cx="5448837" cy="3048849"/>
          </a:xfrm>
          <a:solidFill>
            <a:srgbClr val="F0F0F2"/>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09A8E861-306F-41F4-9C49-8FA9B5533D0B}"/>
              </a:ext>
            </a:extLst>
          </p:cNvPr>
          <p:cNvSpPr>
            <a:spLocks noGrp="1"/>
          </p:cNvSpPr>
          <p:nvPr>
            <p:ph type="pic" sz="quarter" idx="18" hasCustomPrompt="1"/>
          </p:nvPr>
        </p:nvSpPr>
        <p:spPr bwMode="gray">
          <a:xfrm>
            <a:off x="6248966" y="2738839"/>
            <a:ext cx="5448837" cy="3048849"/>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15808486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Four columns w/ image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BFE539C-FE33-4151-8055-3B6BB5618915}"/>
              </a:ext>
            </a:extLst>
          </p:cNvPr>
          <p:cNvGraphicFramePr>
            <a:graphicFrameLocks noChangeAspect="1"/>
          </p:cNvGraphicFramePr>
          <p:nvPr>
            <p:custDataLst>
              <p:tags r:id="rId1"/>
            </p:custDataLst>
            <p:extLst>
              <p:ext uri="{D42A27DB-BD31-4B8C-83A1-F6EECF244321}">
                <p14:modId xmlns:p14="http://schemas.microsoft.com/office/powerpoint/2010/main" val="426162749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8BFE539C-FE33-4151-8055-3B6BB561891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1911619" cy="1936789"/>
          </a:xfrm>
        </p:spPr>
        <p:txBody>
          <a:bodyPr/>
          <a:lstStyle>
            <a:lvl1pPr rtl="0">
              <a:defRPr b="1">
                <a:latin typeface="+mn-lt"/>
              </a:defRPr>
            </a:lvl1pPr>
            <a:lvl2pPr marL="0" indent="0" rtl="0">
              <a:spcBef>
                <a:spcPts val="0"/>
              </a:spcBef>
              <a:buFont typeface="Arial" panose="020B0604020202020204" pitchFamily="34" charset="0"/>
              <a:buNone/>
              <a:defRPr/>
            </a:lvl2pPr>
            <a:lvl3pPr marL="246305" indent="-246305">
              <a:defRPr/>
            </a:lvl3pPr>
            <a:lvl4pPr marL="492610" indent="-246305">
              <a:defRPr/>
            </a:lvl4pPr>
            <a:lvl5pPr marL="738914">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6248966" y="1666345"/>
            <a:ext cx="1911619" cy="1936789"/>
          </a:xfrm>
        </p:spPr>
        <p:txBody>
          <a:bodyPr/>
          <a:lstStyle>
            <a:lvl1pPr rtl="0">
              <a:defRPr b="1"/>
            </a:lvl1pPr>
            <a:lvl2pPr marL="0" indent="0" rtl="0">
              <a:spcBef>
                <a:spcPts val="0"/>
              </a:spcBef>
              <a:buFont typeface="Arial" panose="020B0604020202020204" pitchFamily="34" charset="0"/>
              <a:buNone/>
              <a:defRPr/>
            </a:lvl2pPr>
            <a:lvl3pPr marL="246305">
              <a:defRPr/>
            </a:lvl3pPr>
            <a:lvl4pPr marL="492610">
              <a:defRPr/>
            </a:lvl4pPr>
            <a:lvl5pPr marL="738914">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492387" y="3850899"/>
            <a:ext cx="1911617" cy="1936789"/>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6248967" y="3850899"/>
            <a:ext cx="1911616" cy="1936789"/>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2737091" y="1666345"/>
            <a:ext cx="3205942" cy="1936789"/>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8491702" y="1666345"/>
            <a:ext cx="3206101" cy="1936789"/>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2737090" y="3850899"/>
            <a:ext cx="3206101" cy="1936789"/>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8491702" y="3850899"/>
            <a:ext cx="3206101" cy="1936789"/>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4441175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columns with Logo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A90D660-A2FC-4E3B-B931-C2CBD2717081}"/>
              </a:ext>
            </a:extLst>
          </p:cNvPr>
          <p:cNvGraphicFramePr>
            <a:graphicFrameLocks noChangeAspect="1"/>
          </p:cNvGraphicFramePr>
          <p:nvPr>
            <p:custDataLst>
              <p:tags r:id="rId1"/>
            </p:custDataLst>
            <p:extLst>
              <p:ext uri="{D42A27DB-BD31-4B8C-83A1-F6EECF244321}">
                <p14:modId xmlns:p14="http://schemas.microsoft.com/office/powerpoint/2010/main" val="54992812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CA90D660-A2FC-4E3B-B931-C2CBD271708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2512056"/>
            <a:ext cx="3537217" cy="3275631"/>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5" y="2512056"/>
            <a:ext cx="3558941" cy="3275631"/>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8160583" y="2512056"/>
            <a:ext cx="3537219" cy="3275630"/>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9" name="Picture Placeholder 8">
            <a:extLst>
              <a:ext uri="{FF2B5EF4-FFF2-40B4-BE49-F238E27FC236}">
                <a16:creationId xmlns:a16="http://schemas.microsoft.com/office/drawing/2014/main" id="{BA1F234A-F91A-4672-B5DE-CC0C74019387}"/>
              </a:ext>
            </a:extLst>
          </p:cNvPr>
          <p:cNvSpPr>
            <a:spLocks noGrp="1"/>
          </p:cNvSpPr>
          <p:nvPr>
            <p:ph type="pic" sz="quarter" idx="16" hasCustomPrompt="1"/>
          </p:nvPr>
        </p:nvSpPr>
        <p:spPr bwMode="gray">
          <a:xfrm>
            <a:off x="492388" y="1666346"/>
            <a:ext cx="2867427" cy="618124"/>
          </a:xfrm>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392FB5A-682D-4DF9-AF97-1B0605B0EEF0}"/>
              </a:ext>
            </a:extLst>
          </p:cNvPr>
          <p:cNvSpPr>
            <a:spLocks noGrp="1"/>
          </p:cNvSpPr>
          <p:nvPr>
            <p:ph type="pic" sz="quarter" idx="17" hasCustomPrompt="1"/>
          </p:nvPr>
        </p:nvSpPr>
        <p:spPr bwMode="gray">
          <a:xfrm>
            <a:off x="4315624" y="1666346"/>
            <a:ext cx="2867427" cy="618124"/>
          </a:xfrm>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18CB8C12-6DBC-4C95-A8A7-D5EFE06C1A62}"/>
              </a:ext>
            </a:extLst>
          </p:cNvPr>
          <p:cNvSpPr>
            <a:spLocks noGrp="1"/>
          </p:cNvSpPr>
          <p:nvPr>
            <p:ph type="pic" sz="quarter" idx="18" hasCustomPrompt="1"/>
          </p:nvPr>
        </p:nvSpPr>
        <p:spPr bwMode="gray">
          <a:xfrm>
            <a:off x="8160583" y="1666346"/>
            <a:ext cx="2867427" cy="618124"/>
          </a:xfrm>
        </p:spPr>
        <p:txBody>
          <a:bodyPr/>
          <a:lstStyle>
            <a:lvl1pPr rtl="0">
              <a:defRPr/>
            </a:lvl1pPr>
          </a:lstStyle>
          <a:p>
            <a:r>
              <a:rPr lang="en-US"/>
              <a:t> </a:t>
            </a:r>
          </a:p>
        </p:txBody>
      </p:sp>
    </p:spTree>
    <p:extLst>
      <p:ext uri="{BB962C8B-B14F-4D97-AF65-F5344CB8AC3E}">
        <p14:creationId xmlns:p14="http://schemas.microsoft.com/office/powerpoint/2010/main" val="1009698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B03858C-ECC0-4C78-BFE0-FDFF6F3FA451}"/>
              </a:ext>
            </a:extLst>
          </p:cNvPr>
          <p:cNvGraphicFramePr>
            <a:graphicFrameLocks noChangeAspect="1"/>
          </p:cNvGraphicFramePr>
          <p:nvPr>
            <p:custDataLst>
              <p:tags r:id="rId1"/>
            </p:custDataLst>
            <p:extLst>
              <p:ext uri="{D42A27DB-BD31-4B8C-83A1-F6EECF244321}">
                <p14:modId xmlns:p14="http://schemas.microsoft.com/office/powerpoint/2010/main" val="125713478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B03858C-ECC0-4C78-BFE0-FDFF6F3FA45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2" name="Title 1"/>
          <p:cNvSpPr>
            <a:spLocks noGrp="1"/>
          </p:cNvSpPr>
          <p:nvPr>
            <p:ph type="ctrTitle" hasCustomPrompt="1"/>
          </p:nvPr>
        </p:nvSpPr>
        <p:spPr bwMode="gray">
          <a:xfrm>
            <a:off x="492388" y="1682960"/>
            <a:ext cx="4780856" cy="1351516"/>
          </a:xfrm>
        </p:spPr>
        <p:txBody>
          <a:bodyPr vert="horz" tIns="72000" anchor="t">
            <a:noAutofit/>
          </a:bodyPr>
          <a:lstStyle>
            <a:lvl1pPr algn="l" rtl="0">
              <a:lnSpc>
                <a:spcPct val="100000"/>
              </a:lnSpc>
              <a:defRPr sz="4105">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92387" y="3200505"/>
            <a:ext cx="4780857"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fld id="{D1841161-7AEA-45A0-9DD6-72288FE30A04}" type="datetimeFigureOut">
              <a:rPr lang="nl-NL" smtClean="0"/>
              <a:t>5-10-2023</a:t>
            </a:fld>
            <a:endParaRPr lang="nl-NL"/>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sp>
        <p:nvSpPr>
          <p:cNvPr id="41" name="Picture Placeholder 40">
            <a:extLst>
              <a:ext uri="{FF2B5EF4-FFF2-40B4-BE49-F238E27FC236}">
                <a16:creationId xmlns:a16="http://schemas.microsoft.com/office/drawing/2014/main" id="{88370B1E-BB01-4588-8B6E-89329F5B75C9}"/>
              </a:ext>
            </a:extLst>
          </p:cNvPr>
          <p:cNvSpPr>
            <a:spLocks noGrp="1" noChangeAspect="1"/>
          </p:cNvSpPr>
          <p:nvPr>
            <p:ph type="pic" sz="quarter" idx="15" hasCustomPrompt="1"/>
          </p:nvPr>
        </p:nvSpPr>
        <p:spPr bwMode="gray">
          <a:xfrm>
            <a:off x="8297682" y="3"/>
            <a:ext cx="3894319" cy="2299420"/>
          </a:xfrm>
          <a:custGeom>
            <a:avLst/>
            <a:gdLst>
              <a:gd name="connsiteX0" fmla="*/ 2859 w 3415135"/>
              <a:gd name="connsiteY0" fmla="*/ 0 h 2008799"/>
              <a:gd name="connsiteX1" fmla="*/ 3415135 w 3415135"/>
              <a:gd name="connsiteY1" fmla="*/ 0 h 2008799"/>
              <a:gd name="connsiteX2" fmla="*/ 3415135 w 3415135"/>
              <a:gd name="connsiteY2" fmla="*/ 626349 h 2008799"/>
              <a:gd name="connsiteX3" fmla="*/ 3338830 w 3415135"/>
              <a:gd name="connsiteY3" fmla="*/ 632014 h 2008799"/>
              <a:gd name="connsiteX4" fmla="*/ 2555963 w 3415135"/>
              <a:gd name="connsiteY4" fmla="*/ 632014 h 2008799"/>
              <a:gd name="connsiteX5" fmla="*/ 2555963 w 3415135"/>
              <a:gd name="connsiteY5" fmla="*/ 1414977 h 2008799"/>
              <a:gd name="connsiteX6" fmla="*/ 2094387 w 3415135"/>
              <a:gd name="connsiteY6" fmla="*/ 2000401 h 2008799"/>
              <a:gd name="connsiteX7" fmla="*/ 1973250 w 3415135"/>
              <a:gd name="connsiteY7" fmla="*/ 2008799 h 2008799"/>
              <a:gd name="connsiteX8" fmla="*/ 1956351 w 3415135"/>
              <a:gd name="connsiteY8" fmla="*/ 2008799 h 2008799"/>
              <a:gd name="connsiteX9" fmla="*/ 1836405 w 3415135"/>
              <a:gd name="connsiteY9" fmla="*/ 2000421 h 2008799"/>
              <a:gd name="connsiteX10" fmla="*/ 1377374 w 3415135"/>
              <a:gd name="connsiteY10" fmla="*/ 1414977 h 2008799"/>
              <a:gd name="connsiteX11" fmla="*/ 1377374 w 3415135"/>
              <a:gd name="connsiteY11" fmla="*/ 632014 h 2008799"/>
              <a:gd name="connsiteX12" fmla="*/ 594411 w 3415135"/>
              <a:gd name="connsiteY12" fmla="*/ 632014 h 2008799"/>
              <a:gd name="connsiteX13" fmla="*/ 0 w 3415135"/>
              <a:gd name="connsiteY13" fmla="*/ 40916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5135" h="2008799">
                <a:moveTo>
                  <a:pt x="2859" y="0"/>
                </a:moveTo>
                <a:lnTo>
                  <a:pt x="3415135" y="0"/>
                </a:lnTo>
                <a:lnTo>
                  <a:pt x="3415135" y="626349"/>
                </a:lnTo>
                <a:lnTo>
                  <a:pt x="3338830" y="632014"/>
                </a:lnTo>
                <a:lnTo>
                  <a:pt x="2555963" y="632014"/>
                </a:lnTo>
                <a:lnTo>
                  <a:pt x="2555963" y="1414977"/>
                </a:lnTo>
                <a:cubicBezTo>
                  <a:pt x="2555963" y="1768140"/>
                  <a:pt x="2381236" y="1958363"/>
                  <a:pt x="2094387" y="2000401"/>
                </a:cubicBezTo>
                <a:lnTo>
                  <a:pt x="1973250" y="2008799"/>
                </a:lnTo>
                <a:lnTo>
                  <a:pt x="1956351" y="2008799"/>
                </a:lnTo>
                <a:lnTo>
                  <a:pt x="1836405" y="2000421"/>
                </a:lnTo>
                <a:cubicBezTo>
                  <a:pt x="1552101" y="1958470"/>
                  <a:pt x="1377374" y="1768566"/>
                  <a:pt x="1377374" y="1414977"/>
                </a:cubicBezTo>
                <a:lnTo>
                  <a:pt x="1377374" y="632014"/>
                </a:lnTo>
                <a:lnTo>
                  <a:pt x="594411" y="632014"/>
                </a:lnTo>
                <a:cubicBezTo>
                  <a:pt x="190796" y="632014"/>
                  <a:pt x="0" y="403799"/>
                  <a:pt x="0" y="40916"/>
                </a:cubicBezTo>
                <a:close/>
              </a:path>
            </a:pathLst>
          </a:custGeom>
          <a:solidFill>
            <a:schemeClr val="bg1"/>
          </a:solidFill>
        </p:spPr>
        <p:txBody>
          <a:bodyPr wrap="square">
            <a:noAutofit/>
          </a:bodyPr>
          <a:lstStyle>
            <a:lvl1pPr rtl="0">
              <a:defRPr/>
            </a:lvl1pPr>
          </a:lstStyle>
          <a:p>
            <a:r>
              <a:rPr lang="en-US"/>
              <a:t> </a:t>
            </a:r>
          </a:p>
        </p:txBody>
      </p:sp>
      <p:sp>
        <p:nvSpPr>
          <p:cNvPr id="42" name="Picture Placeholder 41">
            <a:extLst>
              <a:ext uri="{FF2B5EF4-FFF2-40B4-BE49-F238E27FC236}">
                <a16:creationId xmlns:a16="http://schemas.microsoft.com/office/drawing/2014/main" id="{DDC5ACD0-7186-4969-A554-ABFCD136773E}"/>
              </a:ext>
            </a:extLst>
          </p:cNvPr>
          <p:cNvSpPr>
            <a:spLocks noGrp="1" noChangeAspect="1"/>
          </p:cNvSpPr>
          <p:nvPr>
            <p:ph type="pic" sz="quarter" idx="16" hasCustomPrompt="1"/>
          </p:nvPr>
        </p:nvSpPr>
        <p:spPr bwMode="gray">
          <a:xfrm>
            <a:off x="8297682" y="4558580"/>
            <a:ext cx="3894319" cy="2299420"/>
          </a:xfrm>
          <a:custGeom>
            <a:avLst/>
            <a:gdLst>
              <a:gd name="connsiteX0" fmla="*/ 1948852 w 3415135"/>
              <a:gd name="connsiteY0" fmla="*/ 0 h 2008799"/>
              <a:gd name="connsiteX1" fmla="*/ 1987900 w 3415135"/>
              <a:gd name="connsiteY1" fmla="*/ 0 h 2008799"/>
              <a:gd name="connsiteX2" fmla="*/ 2096835 w 3415135"/>
              <a:gd name="connsiteY2" fmla="*/ 7631 h 2008799"/>
              <a:gd name="connsiteX3" fmla="*/ 2555865 w 3415135"/>
              <a:gd name="connsiteY3" fmla="*/ 593634 h 2008799"/>
              <a:gd name="connsiteX4" fmla="*/ 2555865 w 3415135"/>
              <a:gd name="connsiteY4" fmla="*/ 1376501 h 2008799"/>
              <a:gd name="connsiteX5" fmla="*/ 3338830 w 3415135"/>
              <a:gd name="connsiteY5" fmla="*/ 1376501 h 2008799"/>
              <a:gd name="connsiteX6" fmla="*/ 3415135 w 3415135"/>
              <a:gd name="connsiteY6" fmla="*/ 1382178 h 2008799"/>
              <a:gd name="connsiteX7" fmla="*/ 3415135 w 3415135"/>
              <a:gd name="connsiteY7" fmla="*/ 2008799 h 2008799"/>
              <a:gd name="connsiteX8" fmla="*/ 3108 w 3415135"/>
              <a:gd name="connsiteY8" fmla="*/ 2008799 h 2008799"/>
              <a:gd name="connsiteX9" fmla="*/ 0 w 3415135"/>
              <a:gd name="connsiteY9" fmla="*/ 1963992 h 2008799"/>
              <a:gd name="connsiteX10" fmla="*/ 594411 w 3415135"/>
              <a:gd name="connsiteY10" fmla="*/ 1376501 h 2008799"/>
              <a:gd name="connsiteX11" fmla="*/ 1377374 w 3415135"/>
              <a:gd name="connsiteY11" fmla="*/ 1376501 h 2008799"/>
              <a:gd name="connsiteX12" fmla="*/ 1377374 w 3415135"/>
              <a:gd name="connsiteY12" fmla="*/ 593634 h 2008799"/>
              <a:gd name="connsiteX13" fmla="*/ 1377277 w 3415135"/>
              <a:gd name="connsiteY13" fmla="*/ 593634 h 2008799"/>
              <a:gd name="connsiteX14" fmla="*/ 1838853 w 3415135"/>
              <a:gd name="connsiteY14" fmla="*/ 7631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15135" h="2008799">
                <a:moveTo>
                  <a:pt x="1948852" y="0"/>
                </a:moveTo>
                <a:lnTo>
                  <a:pt x="1987900" y="0"/>
                </a:lnTo>
                <a:lnTo>
                  <a:pt x="2096835" y="7631"/>
                </a:lnTo>
                <a:cubicBezTo>
                  <a:pt x="2381139" y="49694"/>
                  <a:pt x="2555865" y="240046"/>
                  <a:pt x="2555865" y="593634"/>
                </a:cubicBezTo>
                <a:lnTo>
                  <a:pt x="2555865" y="1376501"/>
                </a:lnTo>
                <a:lnTo>
                  <a:pt x="3338830" y="1376501"/>
                </a:lnTo>
                <a:lnTo>
                  <a:pt x="3415135" y="1382178"/>
                </a:lnTo>
                <a:lnTo>
                  <a:pt x="3415135" y="2008799"/>
                </a:lnTo>
                <a:lnTo>
                  <a:pt x="3108" y="2008799"/>
                </a:lnTo>
                <a:lnTo>
                  <a:pt x="0" y="1963992"/>
                </a:lnTo>
                <a:cubicBezTo>
                  <a:pt x="0" y="1604813"/>
                  <a:pt x="190309" y="1376501"/>
                  <a:pt x="594411" y="1376501"/>
                </a:cubicBezTo>
                <a:lnTo>
                  <a:pt x="1377374" y="1376501"/>
                </a:lnTo>
                <a:lnTo>
                  <a:pt x="1377374" y="593634"/>
                </a:lnTo>
                <a:lnTo>
                  <a:pt x="1377277" y="593634"/>
                </a:lnTo>
                <a:cubicBezTo>
                  <a:pt x="1377277" y="240046"/>
                  <a:pt x="1552004" y="49694"/>
                  <a:pt x="1838853" y="7631"/>
                </a:cubicBezTo>
                <a:close/>
              </a:path>
            </a:pathLst>
          </a:custGeom>
          <a:solidFill>
            <a:schemeClr val="bg1"/>
          </a:solidFill>
        </p:spPr>
        <p:txBody>
          <a:bodyPr wrap="square">
            <a:noAutofit/>
          </a:bodyPr>
          <a:lstStyle>
            <a:lvl1pPr rtl="0">
              <a:defRPr/>
            </a:lvl1pPr>
          </a:lstStyle>
          <a:p>
            <a:r>
              <a:rPr lang="en-US"/>
              <a:t> </a:t>
            </a:r>
          </a:p>
        </p:txBody>
      </p:sp>
      <p:sp>
        <p:nvSpPr>
          <p:cNvPr id="43" name="Picture Placeholder 42">
            <a:extLst>
              <a:ext uri="{FF2B5EF4-FFF2-40B4-BE49-F238E27FC236}">
                <a16:creationId xmlns:a16="http://schemas.microsoft.com/office/drawing/2014/main" id="{F925625A-AFDE-473E-9086-5537177DCF19}"/>
              </a:ext>
            </a:extLst>
          </p:cNvPr>
          <p:cNvSpPr>
            <a:spLocks noGrp="1" noChangeAspect="1"/>
          </p:cNvSpPr>
          <p:nvPr>
            <p:ph type="pic" sz="quarter" idx="14" hasCustomPrompt="1"/>
          </p:nvPr>
        </p:nvSpPr>
        <p:spPr bwMode="gray">
          <a:xfrm>
            <a:off x="5616951" y="1177190"/>
            <a:ext cx="4483068" cy="4503621"/>
          </a:xfrm>
          <a:custGeom>
            <a:avLst/>
            <a:gdLst>
              <a:gd name="connsiteX0" fmla="*/ 1961098 w 3931441"/>
              <a:gd name="connsiteY0" fmla="*/ 0 h 3934413"/>
              <a:gd name="connsiteX1" fmla="*/ 1972192 w 3931441"/>
              <a:gd name="connsiteY1" fmla="*/ 0 h 3934413"/>
              <a:gd name="connsiteX2" fmla="*/ 2095036 w 3931441"/>
              <a:gd name="connsiteY2" fmla="*/ 8607 h 3934413"/>
              <a:gd name="connsiteX3" fmla="*/ 2554066 w 3931441"/>
              <a:gd name="connsiteY3" fmla="*/ 594755 h 3934413"/>
              <a:gd name="connsiteX4" fmla="*/ 2554066 w 3931441"/>
              <a:gd name="connsiteY4" fmla="*/ 1377817 h 3934413"/>
              <a:gd name="connsiteX5" fmla="*/ 3337031 w 3931441"/>
              <a:gd name="connsiteY5" fmla="*/ 1377817 h 3934413"/>
              <a:gd name="connsiteX6" fmla="*/ 3931441 w 3931441"/>
              <a:gd name="connsiteY6" fmla="*/ 1969157 h 3934413"/>
              <a:gd name="connsiteX7" fmla="*/ 3337031 w 3931441"/>
              <a:gd name="connsiteY7" fmla="*/ 2556698 h 3934413"/>
              <a:gd name="connsiteX8" fmla="*/ 2554164 w 3931441"/>
              <a:gd name="connsiteY8" fmla="*/ 2556698 h 3934413"/>
              <a:gd name="connsiteX9" fmla="*/ 2554164 w 3931441"/>
              <a:gd name="connsiteY9" fmla="*/ 3339856 h 3934413"/>
              <a:gd name="connsiteX10" fmla="*/ 1962970 w 3931441"/>
              <a:gd name="connsiteY10" fmla="*/ 3934413 h 3934413"/>
              <a:gd name="connsiteX11" fmla="*/ 1375575 w 3931441"/>
              <a:gd name="connsiteY11" fmla="*/ 3339856 h 3934413"/>
              <a:gd name="connsiteX12" fmla="*/ 1375575 w 3931441"/>
              <a:gd name="connsiteY12" fmla="*/ 2556698 h 3934413"/>
              <a:gd name="connsiteX13" fmla="*/ 592612 w 3931441"/>
              <a:gd name="connsiteY13" fmla="*/ 2556698 h 3934413"/>
              <a:gd name="connsiteX14" fmla="*/ 7188 w 3931441"/>
              <a:gd name="connsiteY14" fmla="*/ 2095072 h 3934413"/>
              <a:gd name="connsiteX15" fmla="*/ 0 w 3931441"/>
              <a:gd name="connsiteY15" fmla="*/ 1991395 h 3934413"/>
              <a:gd name="connsiteX16" fmla="*/ 0 w 3931441"/>
              <a:gd name="connsiteY16" fmla="*/ 1939700 h 3934413"/>
              <a:gd name="connsiteX17" fmla="*/ 7168 w 3931441"/>
              <a:gd name="connsiteY17" fmla="*/ 1837055 h 3934413"/>
              <a:gd name="connsiteX18" fmla="*/ 592612 w 3931441"/>
              <a:gd name="connsiteY18" fmla="*/ 1377817 h 3934413"/>
              <a:gd name="connsiteX19" fmla="*/ 1375575 w 3931441"/>
              <a:gd name="connsiteY19" fmla="*/ 1377817 h 3934413"/>
              <a:gd name="connsiteX20" fmla="*/ 1375575 w 3931441"/>
              <a:gd name="connsiteY20" fmla="*/ 594755 h 3934413"/>
              <a:gd name="connsiteX21" fmla="*/ 1375478 w 3931441"/>
              <a:gd name="connsiteY21" fmla="*/ 594755 h 3934413"/>
              <a:gd name="connsiteX22" fmla="*/ 1837055 w 3931441"/>
              <a:gd name="connsiteY22" fmla="*/ 8607 h 39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1441" h="3934413">
                <a:moveTo>
                  <a:pt x="1961098" y="0"/>
                </a:moveTo>
                <a:lnTo>
                  <a:pt x="1972192" y="0"/>
                </a:lnTo>
                <a:lnTo>
                  <a:pt x="2095036" y="8607"/>
                </a:lnTo>
                <a:cubicBezTo>
                  <a:pt x="2379340" y="50681"/>
                  <a:pt x="2554066" y="241079"/>
                  <a:pt x="2554066" y="594755"/>
                </a:cubicBezTo>
                <a:lnTo>
                  <a:pt x="2554066" y="1377817"/>
                </a:lnTo>
                <a:lnTo>
                  <a:pt x="3337031" y="1377817"/>
                </a:lnTo>
                <a:cubicBezTo>
                  <a:pt x="3740546" y="1377817"/>
                  <a:pt x="3931441" y="1606186"/>
                  <a:pt x="3931441" y="1969157"/>
                </a:cubicBezTo>
                <a:cubicBezTo>
                  <a:pt x="3931441" y="2328426"/>
                  <a:pt x="3741034" y="2556698"/>
                  <a:pt x="3337031" y="2556698"/>
                </a:cubicBezTo>
                <a:lnTo>
                  <a:pt x="2554164" y="2556698"/>
                </a:lnTo>
                <a:lnTo>
                  <a:pt x="2554164" y="3339856"/>
                </a:lnTo>
                <a:cubicBezTo>
                  <a:pt x="2554164" y="3743571"/>
                  <a:pt x="2325949" y="3934413"/>
                  <a:pt x="1962970" y="3934413"/>
                </a:cubicBezTo>
                <a:cubicBezTo>
                  <a:pt x="1603790" y="3934413"/>
                  <a:pt x="1375575" y="3744058"/>
                  <a:pt x="1375575" y="3339856"/>
                </a:cubicBezTo>
                <a:lnTo>
                  <a:pt x="1375575" y="2556698"/>
                </a:lnTo>
                <a:lnTo>
                  <a:pt x="592612" y="2556698"/>
                </a:lnTo>
                <a:cubicBezTo>
                  <a:pt x="239449" y="2556698"/>
                  <a:pt x="49226" y="2381927"/>
                  <a:pt x="7188" y="2095072"/>
                </a:cubicBezTo>
                <a:lnTo>
                  <a:pt x="0" y="1991395"/>
                </a:lnTo>
                <a:lnTo>
                  <a:pt x="0" y="1939700"/>
                </a:lnTo>
                <a:lnTo>
                  <a:pt x="7168" y="1837055"/>
                </a:lnTo>
                <a:cubicBezTo>
                  <a:pt x="49119" y="1552662"/>
                  <a:pt x="239023" y="1377817"/>
                  <a:pt x="592612" y="1377817"/>
                </a:cubicBezTo>
                <a:lnTo>
                  <a:pt x="1375575" y="1377817"/>
                </a:lnTo>
                <a:lnTo>
                  <a:pt x="1375575" y="594755"/>
                </a:lnTo>
                <a:lnTo>
                  <a:pt x="1375478" y="594755"/>
                </a:lnTo>
                <a:cubicBezTo>
                  <a:pt x="1375478" y="241079"/>
                  <a:pt x="1550205" y="50681"/>
                  <a:pt x="1837055" y="8607"/>
                </a:cubicBezTo>
                <a:close/>
              </a:path>
            </a:pathLst>
          </a:custGeom>
          <a:solidFill>
            <a:schemeClr val="bg1"/>
          </a:solidFill>
        </p:spPr>
        <p:txBody>
          <a:bodyPr wrap="square">
            <a:noAutofit/>
          </a:bodyPr>
          <a:lstStyle>
            <a:lvl1pPr rtl="0">
              <a:defRPr/>
            </a:lvl1pPr>
          </a:lstStyle>
          <a:p>
            <a:r>
              <a:rPr lang="en-US"/>
              <a:t> </a:t>
            </a:r>
          </a:p>
        </p:txBody>
      </p:sp>
      <p:pic>
        <p:nvPicPr>
          <p:cNvPr id="6" name="Picture 2" descr="Unite_Mercateo_logo landscape_white_RGB@5x">
            <a:extLst>
              <a:ext uri="{FF2B5EF4-FFF2-40B4-BE49-F238E27FC236}">
                <a16:creationId xmlns:a16="http://schemas.microsoft.com/office/drawing/2014/main" id="{A21BFC33-DEDF-4CC4-35C9-36FC80B1BDD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51317" y="363465"/>
            <a:ext cx="4129237" cy="1097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62989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key facts white">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83974E6-2BF0-4D29-9D5A-84C12BA50B91}"/>
              </a:ext>
            </a:extLst>
          </p:cNvPr>
          <p:cNvGraphicFramePr>
            <a:graphicFrameLocks noChangeAspect="1"/>
          </p:cNvGraphicFramePr>
          <p:nvPr>
            <p:custDataLst>
              <p:tags r:id="rId1"/>
            </p:custDataLst>
            <p:extLst>
              <p:ext uri="{D42A27DB-BD31-4B8C-83A1-F6EECF244321}">
                <p14:modId xmlns:p14="http://schemas.microsoft.com/office/powerpoint/2010/main" val="414849184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C83974E6-2BF0-4D29-9D5A-84C12BA50B9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C886770A-DFD3-4B72-8CE8-345CABCA8F98}"/>
              </a:ext>
            </a:extLst>
          </p:cNvPr>
          <p:cNvSpPr>
            <a:spLocks noGrp="1"/>
          </p:cNvSpPr>
          <p:nvPr>
            <p:ph type="body" sz="quarter" idx="14" hasCustomPrompt="1"/>
          </p:nvPr>
        </p:nvSpPr>
        <p:spPr bwMode="gray">
          <a:xfrm>
            <a:off x="8160583" y="1666344"/>
            <a:ext cx="3535602" cy="3550930"/>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BE08428D-D366-45FA-B91E-DFF57B152FEA}"/>
              </a:ext>
            </a:extLst>
          </p:cNvPr>
          <p:cNvSpPr>
            <a:spLocks noGrp="1"/>
          </p:cNvSpPr>
          <p:nvPr>
            <p:ph type="body" sz="quarter" idx="13" hasCustomPrompt="1"/>
          </p:nvPr>
        </p:nvSpPr>
        <p:spPr bwMode="gray">
          <a:xfrm>
            <a:off x="4326484"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A17F72EF-8BB1-4BE5-A6A1-BDAA34FDD3FA}"/>
              </a:ext>
            </a:extLst>
          </p:cNvPr>
          <p:cNvSpPr>
            <a:spLocks noGrp="1"/>
          </p:cNvSpPr>
          <p:nvPr>
            <p:ph type="body" sz="quarter" idx="12" hasCustomPrompt="1"/>
          </p:nvPr>
        </p:nvSpPr>
        <p:spPr bwMode="gray">
          <a:xfrm>
            <a:off x="492385"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Tree>
    <p:extLst>
      <p:ext uri="{BB962C8B-B14F-4D97-AF65-F5344CB8AC3E}">
        <p14:creationId xmlns:p14="http://schemas.microsoft.com/office/powerpoint/2010/main" val="5075680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key facts w/ image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130DB61-4438-4878-8AAA-3C89997296D1}"/>
              </a:ext>
            </a:extLst>
          </p:cNvPr>
          <p:cNvGraphicFramePr>
            <a:graphicFrameLocks noChangeAspect="1"/>
          </p:cNvGraphicFramePr>
          <p:nvPr>
            <p:custDataLst>
              <p:tags r:id="rId1"/>
            </p:custDataLst>
            <p:extLst>
              <p:ext uri="{D42A27DB-BD31-4B8C-83A1-F6EECF244321}">
                <p14:modId xmlns:p14="http://schemas.microsoft.com/office/powerpoint/2010/main" val="269763234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8130DB61-4438-4878-8AAA-3C89997296D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2B325ED7-B1C6-4F16-816A-AEABD69612B5}"/>
              </a:ext>
            </a:extLst>
          </p:cNvPr>
          <p:cNvSpPr>
            <a:spLocks noGrp="1"/>
          </p:cNvSpPr>
          <p:nvPr>
            <p:ph type="pic" sz="quarter" idx="15" hasCustomPrompt="1"/>
          </p:nvPr>
        </p:nvSpPr>
        <p:spPr bwMode="gray">
          <a:xfrm>
            <a:off x="-1" y="-1"/>
            <a:ext cx="12192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solidFill>
                  <a:schemeClr val="bg2"/>
                </a:solidFill>
              </a:defRPr>
            </a:lvl1pPr>
          </a:lstStyle>
          <a:p>
            <a:endParaRPr lang="nl-NL"/>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5" name="Textplatzhalter 14">
            <a:extLst>
              <a:ext uri="{FF2B5EF4-FFF2-40B4-BE49-F238E27FC236}">
                <a16:creationId xmlns:a16="http://schemas.microsoft.com/office/drawing/2014/main" id="{07A2CE6C-C13A-4DBF-8074-D561E688271D}"/>
              </a:ext>
            </a:extLst>
          </p:cNvPr>
          <p:cNvSpPr>
            <a:spLocks noGrp="1"/>
          </p:cNvSpPr>
          <p:nvPr>
            <p:ph type="body" sz="quarter" idx="12" hasCustomPrompt="1"/>
          </p:nvPr>
        </p:nvSpPr>
        <p:spPr bwMode="gray">
          <a:xfrm>
            <a:off x="492385"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969BBD67-E8FF-49AF-ACB4-9288817C743F}"/>
              </a:ext>
            </a:extLst>
          </p:cNvPr>
          <p:cNvSpPr>
            <a:spLocks noGrp="1"/>
          </p:cNvSpPr>
          <p:nvPr>
            <p:ph type="body" sz="quarter" idx="13" hasCustomPrompt="1"/>
          </p:nvPr>
        </p:nvSpPr>
        <p:spPr bwMode="gray">
          <a:xfrm>
            <a:off x="4326484" y="1666344"/>
            <a:ext cx="3535603" cy="3550930"/>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D4299233-DC89-4A7B-B322-CE39AB7FB46B}"/>
              </a:ext>
            </a:extLst>
          </p:cNvPr>
          <p:cNvSpPr>
            <a:spLocks noGrp="1"/>
          </p:cNvSpPr>
          <p:nvPr>
            <p:ph type="body" sz="quarter" idx="14" hasCustomPrompt="1"/>
          </p:nvPr>
        </p:nvSpPr>
        <p:spPr bwMode="gray">
          <a:xfrm>
            <a:off x="8160583" y="1666344"/>
            <a:ext cx="3535602" cy="3550930"/>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pic>
        <p:nvPicPr>
          <p:cNvPr id="5" name="Picture 2" descr="Unite_Mercateo_logo landscape_white_RGB@5x">
            <a:extLst>
              <a:ext uri="{FF2B5EF4-FFF2-40B4-BE49-F238E27FC236}">
                <a16:creationId xmlns:a16="http://schemas.microsoft.com/office/drawing/2014/main" id="{37344005-9573-8365-59F0-EC615140340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17037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added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274326-C5A2-499E-862B-8594390C426E}"/>
              </a:ext>
            </a:extLst>
          </p:cNvPr>
          <p:cNvGraphicFramePr>
            <a:graphicFrameLocks noChangeAspect="1"/>
          </p:cNvGraphicFramePr>
          <p:nvPr>
            <p:custDataLst>
              <p:tags r:id="rId1"/>
            </p:custDataLst>
            <p:extLst>
              <p:ext uri="{D42A27DB-BD31-4B8C-83A1-F6EECF244321}">
                <p14:modId xmlns:p14="http://schemas.microsoft.com/office/powerpoint/2010/main" val="42137426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B8274326-C5A2-499E-862B-8594390C426E}"/>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31" name="Picture Placeholder 30">
            <a:extLst>
              <a:ext uri="{FF2B5EF4-FFF2-40B4-BE49-F238E27FC236}">
                <a16:creationId xmlns:a16="http://schemas.microsoft.com/office/drawing/2014/main" id="{3961525F-1942-429A-AE59-A91C7DBB99FF}"/>
              </a:ext>
            </a:extLst>
          </p:cNvPr>
          <p:cNvSpPr>
            <a:spLocks noGrp="1"/>
          </p:cNvSpPr>
          <p:nvPr>
            <p:ph type="pic" sz="quarter" idx="14" hasCustomPrompt="1"/>
          </p:nvPr>
        </p:nvSpPr>
        <p:spPr bwMode="gray">
          <a:xfrm>
            <a:off x="7402441" y="1237804"/>
            <a:ext cx="4786396" cy="5619681"/>
          </a:xfrm>
          <a:custGeom>
            <a:avLst/>
            <a:gdLst>
              <a:gd name="connsiteX0" fmla="*/ 2089800 w 4197445"/>
              <a:gd name="connsiteY0" fmla="*/ 0 h 4909416"/>
              <a:gd name="connsiteX1" fmla="*/ 2114342 w 4197445"/>
              <a:gd name="connsiteY1" fmla="*/ 0 h 4909416"/>
              <a:gd name="connsiteX2" fmla="*/ 2334906 w 4197445"/>
              <a:gd name="connsiteY2" fmla="*/ 7459 h 4909416"/>
              <a:gd name="connsiteX3" fmla="*/ 4197445 w 4197445"/>
              <a:gd name="connsiteY3" fmla="*/ 2098644 h 4909416"/>
              <a:gd name="connsiteX4" fmla="*/ 4197445 w 4197445"/>
              <a:gd name="connsiteY4" fmla="*/ 4909416 h 4909416"/>
              <a:gd name="connsiteX5" fmla="*/ 0 w 4197445"/>
              <a:gd name="connsiteY5" fmla="*/ 4909416 h 4909416"/>
              <a:gd name="connsiteX6" fmla="*/ 0 w 4197445"/>
              <a:gd name="connsiteY6" fmla="*/ 3645532 h 4909416"/>
              <a:gd name="connsiteX7" fmla="*/ 143068 w 4197445"/>
              <a:gd name="connsiteY7" fmla="*/ 3578331 h 4909416"/>
              <a:gd name="connsiteX8" fmla="*/ 886188 w 4197445"/>
              <a:gd name="connsiteY8" fmla="*/ 2783272 h 4909416"/>
              <a:gd name="connsiteX9" fmla="*/ 903587 w 4197445"/>
              <a:gd name="connsiteY9" fmla="*/ 2743268 h 4909416"/>
              <a:gd name="connsiteX10" fmla="*/ 938257 w 4197445"/>
              <a:gd name="connsiteY10" fmla="*/ 2655388 h 4909416"/>
              <a:gd name="connsiteX11" fmla="*/ 950956 w 4197445"/>
              <a:gd name="connsiteY11" fmla="*/ 2621480 h 4909416"/>
              <a:gd name="connsiteX12" fmla="*/ 950956 w 4197445"/>
              <a:gd name="connsiteY12" fmla="*/ 2620211 h 4909416"/>
              <a:gd name="connsiteX13" fmla="*/ 963656 w 4197445"/>
              <a:gd name="connsiteY13" fmla="*/ 2584398 h 4909416"/>
              <a:gd name="connsiteX14" fmla="*/ 975211 w 4197445"/>
              <a:gd name="connsiteY14" fmla="*/ 2548078 h 4909416"/>
              <a:gd name="connsiteX15" fmla="*/ 996673 w 4197445"/>
              <a:gd name="connsiteY15" fmla="*/ 2473786 h 4909416"/>
              <a:gd name="connsiteX16" fmla="*/ 1006070 w 4197445"/>
              <a:gd name="connsiteY16" fmla="*/ 2438100 h 4909416"/>
              <a:gd name="connsiteX17" fmla="*/ 1006070 w 4197445"/>
              <a:gd name="connsiteY17" fmla="*/ 2435941 h 4909416"/>
              <a:gd name="connsiteX18" fmla="*/ 1015213 w 4197445"/>
              <a:gd name="connsiteY18" fmla="*/ 2398731 h 4909416"/>
              <a:gd name="connsiteX19" fmla="*/ 1015213 w 4197445"/>
              <a:gd name="connsiteY19" fmla="*/ 2396446 h 4909416"/>
              <a:gd name="connsiteX20" fmla="*/ 1023724 w 4197445"/>
              <a:gd name="connsiteY20" fmla="*/ 2358347 h 4909416"/>
              <a:gd name="connsiteX21" fmla="*/ 1023724 w 4197445"/>
              <a:gd name="connsiteY21" fmla="*/ 2355554 h 4909416"/>
              <a:gd name="connsiteX22" fmla="*/ 1031342 w 4197445"/>
              <a:gd name="connsiteY22" fmla="*/ 2318852 h 4909416"/>
              <a:gd name="connsiteX23" fmla="*/ 1038582 w 4197445"/>
              <a:gd name="connsiteY23" fmla="*/ 2280753 h 4909416"/>
              <a:gd name="connsiteX24" fmla="*/ 1051281 w 4197445"/>
              <a:gd name="connsiteY24" fmla="*/ 2206080 h 4909416"/>
              <a:gd name="connsiteX25" fmla="*/ 1054456 w 4197445"/>
              <a:gd name="connsiteY25" fmla="*/ 2184492 h 4909416"/>
              <a:gd name="connsiteX26" fmla="*/ 1054456 w 4197445"/>
              <a:gd name="connsiteY26" fmla="*/ 2182205 h 4909416"/>
              <a:gd name="connsiteX27" fmla="*/ 1063853 w 4197445"/>
              <a:gd name="connsiteY27" fmla="*/ 2112232 h 4909416"/>
              <a:gd name="connsiteX28" fmla="*/ 1068804 w 4197445"/>
              <a:gd name="connsiteY28" fmla="*/ 2069434 h 4909416"/>
              <a:gd name="connsiteX29" fmla="*/ 1073123 w 4197445"/>
              <a:gd name="connsiteY29" fmla="*/ 2026129 h 4909416"/>
              <a:gd name="connsiteX30" fmla="*/ 1076933 w 4197445"/>
              <a:gd name="connsiteY30" fmla="*/ 1982190 h 4909416"/>
              <a:gd name="connsiteX31" fmla="*/ 1080109 w 4197445"/>
              <a:gd name="connsiteY31" fmla="*/ 1937741 h 4909416"/>
              <a:gd name="connsiteX32" fmla="*/ 1080109 w 4197445"/>
              <a:gd name="connsiteY32" fmla="*/ 1936598 h 4909416"/>
              <a:gd name="connsiteX33" fmla="*/ 1082521 w 4197445"/>
              <a:gd name="connsiteY33" fmla="*/ 1895452 h 4909416"/>
              <a:gd name="connsiteX34" fmla="*/ 1082521 w 4197445"/>
              <a:gd name="connsiteY34" fmla="*/ 1889483 h 4909416"/>
              <a:gd name="connsiteX35" fmla="*/ 1084173 w 4197445"/>
              <a:gd name="connsiteY35" fmla="*/ 1851385 h 4909416"/>
              <a:gd name="connsiteX36" fmla="*/ 1085696 w 4197445"/>
              <a:gd name="connsiteY36" fmla="*/ 1807064 h 4909416"/>
              <a:gd name="connsiteX37" fmla="*/ 1086458 w 4197445"/>
              <a:gd name="connsiteY37" fmla="*/ 1774045 h 4909416"/>
              <a:gd name="connsiteX38" fmla="*/ 1086458 w 4197445"/>
              <a:gd name="connsiteY38" fmla="*/ 1746233 h 4909416"/>
              <a:gd name="connsiteX39" fmla="*/ 1086458 w 4197445"/>
              <a:gd name="connsiteY39" fmla="*/ 1707119 h 4909416"/>
              <a:gd name="connsiteX40" fmla="*/ 1086458 w 4197445"/>
              <a:gd name="connsiteY40" fmla="*/ 180770 h 4909416"/>
              <a:gd name="connsiteX41" fmla="*/ 1821608 w 4197445"/>
              <a:gd name="connsiteY41" fmla="*/ 10774 h 490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97445" h="4909416">
                <a:moveTo>
                  <a:pt x="2089800" y="0"/>
                </a:moveTo>
                <a:lnTo>
                  <a:pt x="2114342" y="0"/>
                </a:lnTo>
                <a:lnTo>
                  <a:pt x="2334906" y="7459"/>
                </a:lnTo>
                <a:cubicBezTo>
                  <a:pt x="3476262" y="86654"/>
                  <a:pt x="4190066" y="761985"/>
                  <a:pt x="4197445" y="2098644"/>
                </a:cubicBezTo>
                <a:lnTo>
                  <a:pt x="4197445" y="4909416"/>
                </a:lnTo>
                <a:lnTo>
                  <a:pt x="0" y="4909416"/>
                </a:lnTo>
                <a:lnTo>
                  <a:pt x="0" y="3645532"/>
                </a:lnTo>
                <a:lnTo>
                  <a:pt x="143068" y="3578331"/>
                </a:lnTo>
                <a:cubicBezTo>
                  <a:pt x="472529" y="3405518"/>
                  <a:pt x="725397" y="3141746"/>
                  <a:pt x="886188" y="2783272"/>
                </a:cubicBezTo>
                <a:cubicBezTo>
                  <a:pt x="892029" y="2770572"/>
                  <a:pt x="897870" y="2756729"/>
                  <a:pt x="903587" y="2743268"/>
                </a:cubicBezTo>
                <a:cubicBezTo>
                  <a:pt x="915651" y="2714567"/>
                  <a:pt x="927206" y="2685271"/>
                  <a:pt x="938257" y="2655388"/>
                </a:cubicBezTo>
                <a:lnTo>
                  <a:pt x="950956" y="2621480"/>
                </a:lnTo>
                <a:lnTo>
                  <a:pt x="950956" y="2620211"/>
                </a:lnTo>
                <a:cubicBezTo>
                  <a:pt x="955017" y="2608273"/>
                  <a:pt x="959082" y="2596334"/>
                  <a:pt x="963656" y="2584398"/>
                </a:cubicBezTo>
                <a:cubicBezTo>
                  <a:pt x="968226" y="2572459"/>
                  <a:pt x="971401" y="2560269"/>
                  <a:pt x="975211" y="2548078"/>
                </a:cubicBezTo>
                <a:cubicBezTo>
                  <a:pt x="982832" y="2523695"/>
                  <a:pt x="989941" y="2498931"/>
                  <a:pt x="996673" y="2473786"/>
                </a:cubicBezTo>
                <a:cubicBezTo>
                  <a:pt x="999847" y="2461975"/>
                  <a:pt x="1003022" y="2450038"/>
                  <a:pt x="1006070" y="2438100"/>
                </a:cubicBezTo>
                <a:cubicBezTo>
                  <a:pt x="1005943" y="2437376"/>
                  <a:pt x="1005943" y="2436665"/>
                  <a:pt x="1006070" y="2435941"/>
                </a:cubicBezTo>
                <a:lnTo>
                  <a:pt x="1015213" y="2398731"/>
                </a:lnTo>
                <a:cubicBezTo>
                  <a:pt x="1015213" y="2397970"/>
                  <a:pt x="1015213" y="2397208"/>
                  <a:pt x="1015213" y="2396446"/>
                </a:cubicBezTo>
                <a:cubicBezTo>
                  <a:pt x="1018133" y="2383746"/>
                  <a:pt x="1020930" y="2371047"/>
                  <a:pt x="1023724" y="2358347"/>
                </a:cubicBezTo>
                <a:cubicBezTo>
                  <a:pt x="1023724" y="2357458"/>
                  <a:pt x="1023724" y="2356443"/>
                  <a:pt x="1023724" y="2355554"/>
                </a:cubicBezTo>
                <a:cubicBezTo>
                  <a:pt x="1026390" y="2342855"/>
                  <a:pt x="1028930" y="2331170"/>
                  <a:pt x="1031342" y="2318852"/>
                </a:cubicBezTo>
                <a:cubicBezTo>
                  <a:pt x="1033757" y="2306533"/>
                  <a:pt x="1036296" y="2293453"/>
                  <a:pt x="1038582" y="2280753"/>
                </a:cubicBezTo>
                <a:cubicBezTo>
                  <a:pt x="1043155" y="2256282"/>
                  <a:pt x="1047343" y="2231391"/>
                  <a:pt x="1051281" y="2206080"/>
                </a:cubicBezTo>
                <a:cubicBezTo>
                  <a:pt x="1052297" y="2198969"/>
                  <a:pt x="1053438" y="2191730"/>
                  <a:pt x="1054456" y="2184492"/>
                </a:cubicBezTo>
                <a:lnTo>
                  <a:pt x="1054456" y="2182205"/>
                </a:lnTo>
                <a:cubicBezTo>
                  <a:pt x="1057885" y="2159258"/>
                  <a:pt x="1060933" y="2135942"/>
                  <a:pt x="1063853" y="2112232"/>
                </a:cubicBezTo>
                <a:cubicBezTo>
                  <a:pt x="1065630" y="2098136"/>
                  <a:pt x="1067282" y="2083786"/>
                  <a:pt x="1068804" y="2069434"/>
                </a:cubicBezTo>
                <a:cubicBezTo>
                  <a:pt x="1070330" y="2055084"/>
                  <a:pt x="1071855" y="2040607"/>
                  <a:pt x="1073123" y="2026129"/>
                </a:cubicBezTo>
                <a:cubicBezTo>
                  <a:pt x="1074395" y="2011653"/>
                  <a:pt x="1075789" y="1996921"/>
                  <a:pt x="1076933" y="1982190"/>
                </a:cubicBezTo>
                <a:cubicBezTo>
                  <a:pt x="1078079" y="1967458"/>
                  <a:pt x="1079219" y="1952599"/>
                  <a:pt x="1080109" y="1937741"/>
                </a:cubicBezTo>
                <a:cubicBezTo>
                  <a:pt x="1080109" y="1937361"/>
                  <a:pt x="1080109" y="1936980"/>
                  <a:pt x="1080109" y="1936598"/>
                </a:cubicBezTo>
                <a:cubicBezTo>
                  <a:pt x="1080999" y="1922883"/>
                  <a:pt x="1081759" y="1909294"/>
                  <a:pt x="1082521" y="1895452"/>
                </a:cubicBezTo>
                <a:cubicBezTo>
                  <a:pt x="1082521" y="1893547"/>
                  <a:pt x="1082521" y="1891515"/>
                  <a:pt x="1082521" y="1889483"/>
                </a:cubicBezTo>
                <a:cubicBezTo>
                  <a:pt x="1082521" y="1876784"/>
                  <a:pt x="1083792" y="1864084"/>
                  <a:pt x="1084173" y="1851385"/>
                </a:cubicBezTo>
                <a:cubicBezTo>
                  <a:pt x="1084173" y="1836653"/>
                  <a:pt x="1085314" y="1821922"/>
                  <a:pt x="1085696" y="1807064"/>
                </a:cubicBezTo>
                <a:cubicBezTo>
                  <a:pt x="1085696" y="1796143"/>
                  <a:pt x="1085696" y="1785093"/>
                  <a:pt x="1086458" y="1774045"/>
                </a:cubicBezTo>
                <a:cubicBezTo>
                  <a:pt x="1087221" y="1762996"/>
                  <a:pt x="1086458" y="1755505"/>
                  <a:pt x="1086458" y="1746233"/>
                </a:cubicBezTo>
                <a:cubicBezTo>
                  <a:pt x="1086458" y="1733534"/>
                  <a:pt x="1086458" y="1720834"/>
                  <a:pt x="1086458" y="1707119"/>
                </a:cubicBezTo>
                <a:lnTo>
                  <a:pt x="1086458" y="180770"/>
                </a:lnTo>
                <a:cubicBezTo>
                  <a:pt x="1304096" y="89620"/>
                  <a:pt x="1550379" y="33258"/>
                  <a:pt x="1821608" y="10774"/>
                </a:cubicBezTo>
                <a:close/>
              </a:path>
            </a:pathLst>
          </a:custGeom>
          <a:solidFill>
            <a:schemeClr val="bg1"/>
          </a:solidFill>
        </p:spPr>
        <p:txBody>
          <a:bodyPr wrap="square">
            <a:noAutofit/>
          </a:bodyPr>
          <a:lstStyle>
            <a:lvl1pPr rtl="0">
              <a:defRPr/>
            </a:lvl1pPr>
          </a:lstStyle>
          <a:p>
            <a:r>
              <a:rPr lang="en-US"/>
              <a:t> </a:t>
            </a:r>
          </a:p>
        </p:txBody>
      </p:sp>
      <p:sp>
        <p:nvSpPr>
          <p:cNvPr id="28" name="Picture Placeholder 27">
            <a:extLst>
              <a:ext uri="{FF2B5EF4-FFF2-40B4-BE49-F238E27FC236}">
                <a16:creationId xmlns:a16="http://schemas.microsoft.com/office/drawing/2014/main" id="{5BDDFE71-EDC0-4167-9A7F-4E81E78CF4DF}"/>
              </a:ext>
            </a:extLst>
          </p:cNvPr>
          <p:cNvSpPr>
            <a:spLocks noGrp="1"/>
          </p:cNvSpPr>
          <p:nvPr>
            <p:ph type="pic" sz="quarter" idx="13" hasCustomPrompt="1"/>
          </p:nvPr>
        </p:nvSpPr>
        <p:spPr bwMode="gray">
          <a:xfrm>
            <a:off x="3859580" y="1"/>
            <a:ext cx="4785092" cy="5619682"/>
          </a:xfrm>
          <a:custGeom>
            <a:avLst/>
            <a:gdLst>
              <a:gd name="connsiteX0" fmla="*/ 0 w 4196302"/>
              <a:gd name="connsiteY0" fmla="*/ 0 h 4909417"/>
              <a:gd name="connsiteX1" fmla="*/ 4196302 w 4196302"/>
              <a:gd name="connsiteY1" fmla="*/ 0 h 4909417"/>
              <a:gd name="connsiteX2" fmla="*/ 4196302 w 4196302"/>
              <a:gd name="connsiteY2" fmla="*/ 1262130 h 4909417"/>
              <a:gd name="connsiteX3" fmla="*/ 3295530 w 4196302"/>
              <a:gd name="connsiteY3" fmla="*/ 2151093 h 4909417"/>
              <a:gd name="connsiteX4" fmla="*/ 3259462 w 4196302"/>
              <a:gd name="connsiteY4" fmla="*/ 2239989 h 4909417"/>
              <a:gd name="connsiteX5" fmla="*/ 3242825 w 4196302"/>
              <a:gd name="connsiteY5" fmla="*/ 2286089 h 4909417"/>
              <a:gd name="connsiteX6" fmla="*/ 3242825 w 4196302"/>
              <a:gd name="connsiteY6" fmla="*/ 2287358 h 4909417"/>
              <a:gd name="connsiteX7" fmla="*/ 3230125 w 4196302"/>
              <a:gd name="connsiteY7" fmla="*/ 2323171 h 4909417"/>
              <a:gd name="connsiteX8" fmla="*/ 3218570 w 4196302"/>
              <a:gd name="connsiteY8" fmla="*/ 2359491 h 4909417"/>
              <a:gd name="connsiteX9" fmla="*/ 3197109 w 4196302"/>
              <a:gd name="connsiteY9" fmla="*/ 2433657 h 4909417"/>
              <a:gd name="connsiteX10" fmla="*/ 3187203 w 4196302"/>
              <a:gd name="connsiteY10" fmla="*/ 2471755 h 4909417"/>
              <a:gd name="connsiteX11" fmla="*/ 3169170 w 4196302"/>
              <a:gd name="connsiteY11" fmla="*/ 2548587 h 4909417"/>
              <a:gd name="connsiteX12" fmla="*/ 3168408 w 4196302"/>
              <a:gd name="connsiteY12" fmla="*/ 2552141 h 4909417"/>
              <a:gd name="connsiteX13" fmla="*/ 3160787 w 4196302"/>
              <a:gd name="connsiteY13" fmla="*/ 2588716 h 4909417"/>
              <a:gd name="connsiteX14" fmla="*/ 3153928 w 4196302"/>
              <a:gd name="connsiteY14" fmla="*/ 2624149 h 4909417"/>
              <a:gd name="connsiteX15" fmla="*/ 3145930 w 4196302"/>
              <a:gd name="connsiteY15" fmla="*/ 2669486 h 4909417"/>
              <a:gd name="connsiteX16" fmla="*/ 3140470 w 4196302"/>
              <a:gd name="connsiteY16" fmla="*/ 2703139 h 4909417"/>
              <a:gd name="connsiteX17" fmla="*/ 3137546 w 4196302"/>
              <a:gd name="connsiteY17" fmla="*/ 2722442 h 4909417"/>
              <a:gd name="connsiteX18" fmla="*/ 3133230 w 4196302"/>
              <a:gd name="connsiteY18" fmla="*/ 2752413 h 4909417"/>
              <a:gd name="connsiteX19" fmla="*/ 3127771 w 4196302"/>
              <a:gd name="connsiteY19" fmla="*/ 2794702 h 4909417"/>
              <a:gd name="connsiteX20" fmla="*/ 3122816 w 4196302"/>
              <a:gd name="connsiteY20" fmla="*/ 2837499 h 4909417"/>
              <a:gd name="connsiteX21" fmla="*/ 3118496 w 4196302"/>
              <a:gd name="connsiteY21" fmla="*/ 2880931 h 4909417"/>
              <a:gd name="connsiteX22" fmla="*/ 3114690 w 4196302"/>
              <a:gd name="connsiteY22" fmla="*/ 2924744 h 4909417"/>
              <a:gd name="connsiteX23" fmla="*/ 3111514 w 4196302"/>
              <a:gd name="connsiteY23" fmla="*/ 2969193 h 4909417"/>
              <a:gd name="connsiteX24" fmla="*/ 3111514 w 4196302"/>
              <a:gd name="connsiteY24" fmla="*/ 2970336 h 4909417"/>
              <a:gd name="connsiteX25" fmla="*/ 3109099 w 4196302"/>
              <a:gd name="connsiteY25" fmla="*/ 3011227 h 4909417"/>
              <a:gd name="connsiteX26" fmla="*/ 3109099 w 4196302"/>
              <a:gd name="connsiteY26" fmla="*/ 3017959 h 4909417"/>
              <a:gd name="connsiteX27" fmla="*/ 3107450 w 4196302"/>
              <a:gd name="connsiteY27" fmla="*/ 3054660 h 4909417"/>
              <a:gd name="connsiteX28" fmla="*/ 3105925 w 4196302"/>
              <a:gd name="connsiteY28" fmla="*/ 3099870 h 4909417"/>
              <a:gd name="connsiteX29" fmla="*/ 3105165 w 4196302"/>
              <a:gd name="connsiteY29" fmla="*/ 3132889 h 4909417"/>
              <a:gd name="connsiteX30" fmla="*/ 3105165 w 4196302"/>
              <a:gd name="connsiteY30" fmla="*/ 3160701 h 4909417"/>
              <a:gd name="connsiteX31" fmla="*/ 3105165 w 4196302"/>
              <a:gd name="connsiteY31" fmla="*/ 3199814 h 4909417"/>
              <a:gd name="connsiteX32" fmla="*/ 3105165 w 4196302"/>
              <a:gd name="connsiteY32" fmla="*/ 4728196 h 4909417"/>
              <a:gd name="connsiteX33" fmla="*/ 2090603 w 4196302"/>
              <a:gd name="connsiteY33" fmla="*/ 4909417 h 4909417"/>
              <a:gd name="connsiteX34" fmla="*/ 6673 w 4196302"/>
              <a:gd name="connsiteY34" fmla="*/ 3050607 h 4909417"/>
              <a:gd name="connsiteX35" fmla="*/ 0 w 4196302"/>
              <a:gd name="connsiteY35" fmla="*/ 2866178 h 49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96302" h="4909417">
                <a:moveTo>
                  <a:pt x="0" y="0"/>
                </a:moveTo>
                <a:lnTo>
                  <a:pt x="4196302" y="0"/>
                </a:lnTo>
                <a:lnTo>
                  <a:pt x="4196302" y="1262130"/>
                </a:lnTo>
                <a:cubicBezTo>
                  <a:pt x="3786744" y="1433573"/>
                  <a:pt x="3478273" y="1728201"/>
                  <a:pt x="3295530" y="2151093"/>
                </a:cubicBezTo>
                <a:cubicBezTo>
                  <a:pt x="3282831" y="2180302"/>
                  <a:pt x="3270890" y="2210145"/>
                  <a:pt x="3259462" y="2239989"/>
                </a:cubicBezTo>
                <a:cubicBezTo>
                  <a:pt x="3253748" y="2255229"/>
                  <a:pt x="3248288" y="2270595"/>
                  <a:pt x="3242825" y="2286089"/>
                </a:cubicBezTo>
                <a:cubicBezTo>
                  <a:pt x="3242953" y="2286507"/>
                  <a:pt x="3242953" y="2286939"/>
                  <a:pt x="3242825" y="2287358"/>
                </a:cubicBezTo>
                <a:cubicBezTo>
                  <a:pt x="3238637" y="2299169"/>
                  <a:pt x="3234572" y="2311106"/>
                  <a:pt x="3230125" y="2323171"/>
                </a:cubicBezTo>
                <a:cubicBezTo>
                  <a:pt x="3225683" y="2335236"/>
                  <a:pt x="3222253" y="2347301"/>
                  <a:pt x="3218570" y="2359491"/>
                </a:cubicBezTo>
                <a:cubicBezTo>
                  <a:pt x="3210950" y="2383874"/>
                  <a:pt x="3203839" y="2408599"/>
                  <a:pt x="3197109" y="2433657"/>
                </a:cubicBezTo>
                <a:lnTo>
                  <a:pt x="3187203" y="2471755"/>
                </a:lnTo>
                <a:cubicBezTo>
                  <a:pt x="3180726" y="2497154"/>
                  <a:pt x="3174503" y="2522553"/>
                  <a:pt x="3169170" y="2548587"/>
                </a:cubicBezTo>
                <a:lnTo>
                  <a:pt x="3168408" y="2552141"/>
                </a:lnTo>
                <a:cubicBezTo>
                  <a:pt x="3165741" y="2564334"/>
                  <a:pt x="3163199" y="2576526"/>
                  <a:pt x="3160787" y="2588716"/>
                </a:cubicBezTo>
                <a:cubicBezTo>
                  <a:pt x="3158375" y="2600909"/>
                  <a:pt x="3156090" y="2612719"/>
                  <a:pt x="3153928" y="2624149"/>
                </a:cubicBezTo>
                <a:cubicBezTo>
                  <a:pt x="3151135" y="2639134"/>
                  <a:pt x="3148468" y="2654246"/>
                  <a:pt x="3145930" y="2669486"/>
                </a:cubicBezTo>
                <a:cubicBezTo>
                  <a:pt x="3144023" y="2680661"/>
                  <a:pt x="3142119" y="2691835"/>
                  <a:pt x="3140470" y="2703139"/>
                </a:cubicBezTo>
                <a:cubicBezTo>
                  <a:pt x="3139453" y="2709616"/>
                  <a:pt x="3138436" y="2715838"/>
                  <a:pt x="3137546" y="2722442"/>
                </a:cubicBezTo>
                <a:cubicBezTo>
                  <a:pt x="3136024" y="2732347"/>
                  <a:pt x="3134625" y="2742380"/>
                  <a:pt x="3133230" y="2752413"/>
                </a:cubicBezTo>
                <a:cubicBezTo>
                  <a:pt x="3131324" y="2766383"/>
                  <a:pt x="3129420" y="2780478"/>
                  <a:pt x="3127771" y="2794702"/>
                </a:cubicBezTo>
                <a:cubicBezTo>
                  <a:pt x="3126117" y="2808925"/>
                  <a:pt x="3124342" y="2823149"/>
                  <a:pt x="3122816" y="2837499"/>
                </a:cubicBezTo>
                <a:cubicBezTo>
                  <a:pt x="3121294" y="2851850"/>
                  <a:pt x="3119768" y="2866327"/>
                  <a:pt x="3118496" y="2880931"/>
                </a:cubicBezTo>
                <a:cubicBezTo>
                  <a:pt x="3117228" y="2895536"/>
                  <a:pt x="3115830" y="2910013"/>
                  <a:pt x="3114690" y="2924744"/>
                </a:cubicBezTo>
                <a:cubicBezTo>
                  <a:pt x="3113546" y="2939476"/>
                  <a:pt x="3112401" y="2954335"/>
                  <a:pt x="3111514" y="2969193"/>
                </a:cubicBezTo>
                <a:cubicBezTo>
                  <a:pt x="3111514" y="2969574"/>
                  <a:pt x="3111514" y="2969954"/>
                  <a:pt x="3111514" y="2970336"/>
                </a:cubicBezTo>
                <a:cubicBezTo>
                  <a:pt x="3110625" y="2983923"/>
                  <a:pt x="3109862" y="2997512"/>
                  <a:pt x="3109099" y="3011227"/>
                </a:cubicBezTo>
                <a:cubicBezTo>
                  <a:pt x="3109099" y="3013514"/>
                  <a:pt x="3109099" y="3015672"/>
                  <a:pt x="3109099" y="3017959"/>
                </a:cubicBezTo>
                <a:cubicBezTo>
                  <a:pt x="3109099" y="3030658"/>
                  <a:pt x="3107832" y="3042342"/>
                  <a:pt x="3107450" y="3054660"/>
                </a:cubicBezTo>
                <a:cubicBezTo>
                  <a:pt x="3106814" y="3069645"/>
                  <a:pt x="3106306" y="3084758"/>
                  <a:pt x="3105925" y="3099870"/>
                </a:cubicBezTo>
                <a:cubicBezTo>
                  <a:pt x="3105925" y="3110792"/>
                  <a:pt x="3105925" y="3121840"/>
                  <a:pt x="3105165" y="3132889"/>
                </a:cubicBezTo>
                <a:cubicBezTo>
                  <a:pt x="3104402" y="3143938"/>
                  <a:pt x="3105165" y="3151429"/>
                  <a:pt x="3105165" y="3160701"/>
                </a:cubicBezTo>
                <a:cubicBezTo>
                  <a:pt x="3105165" y="3173400"/>
                  <a:pt x="3105165" y="3186735"/>
                  <a:pt x="3105165" y="3199814"/>
                </a:cubicBezTo>
                <a:lnTo>
                  <a:pt x="3105165" y="4728196"/>
                </a:lnTo>
                <a:cubicBezTo>
                  <a:pt x="2814981" y="4849730"/>
                  <a:pt x="2473874" y="4909417"/>
                  <a:pt x="2090603" y="4909417"/>
                </a:cubicBezTo>
                <a:cubicBezTo>
                  <a:pt x="890622" y="4909417"/>
                  <a:pt x="100723" y="4311823"/>
                  <a:pt x="6673" y="3050607"/>
                </a:cubicBezTo>
                <a:lnTo>
                  <a:pt x="0" y="2866178"/>
                </a:ln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59A2ADD1-B595-4415-AEF4-B06F3B989E51}"/>
              </a:ext>
            </a:extLst>
          </p:cNvPr>
          <p:cNvSpPr>
            <a:spLocks noGrp="1"/>
          </p:cNvSpPr>
          <p:nvPr>
            <p:ph type="title" hasCustomPrompt="1"/>
          </p:nvPr>
        </p:nvSpPr>
        <p:spPr bwMode="gray">
          <a:xfrm>
            <a:off x="492387" y="496088"/>
            <a:ext cx="3367193" cy="628128"/>
          </a:xfrm>
        </p:spPr>
        <p:txBody>
          <a:bodyPr vert="horz"/>
          <a:lstStyle>
            <a:lvl1pPr rtl="0">
              <a:defRPr/>
            </a:lvl1pPr>
          </a:lstStyle>
          <a:p>
            <a:r>
              <a:rPr lang="en-US"/>
              <a:t>Headline, Poppins Regular</a:t>
            </a:r>
            <a:br>
              <a:rPr lang="en-US"/>
            </a:br>
            <a:r>
              <a:rPr lang="en-US"/>
              <a:t>Subheading, Poppins Light</a:t>
            </a:r>
          </a:p>
        </p:txBody>
      </p:sp>
      <p:sp>
        <p:nvSpPr>
          <p:cNvPr id="3" name="Footer Placeholder 2">
            <a:extLst>
              <a:ext uri="{FF2B5EF4-FFF2-40B4-BE49-F238E27FC236}">
                <a16:creationId xmlns:a16="http://schemas.microsoft.com/office/drawing/2014/main" id="{1BA3665A-CCF4-4CC7-9F78-87639570646E}"/>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E8B2412B-A5D0-4F41-9508-3641314E5038}"/>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95EB9343-0E53-408F-91BE-7EAA7EF940EB}"/>
              </a:ext>
            </a:extLst>
          </p:cNvPr>
          <p:cNvSpPr>
            <a:spLocks noGrp="1"/>
          </p:cNvSpPr>
          <p:nvPr>
            <p:ph type="body" sz="quarter" idx="12"/>
          </p:nvPr>
        </p:nvSpPr>
        <p:spPr bwMode="gray">
          <a:xfrm>
            <a:off x="492387" y="1666345"/>
            <a:ext cx="2581409" cy="4121342"/>
          </a:xfrm>
        </p:spPr>
        <p:txBody>
          <a:bodyPr/>
          <a:lstStyle>
            <a:lvl1pPr rtl="0">
              <a:defRPr/>
            </a:lvl1pPr>
            <a:lvl2pPr rtl="0">
              <a:spcBef>
                <a:spcPts val="684"/>
              </a:spcBef>
              <a:defRPr/>
            </a:lvl2pPr>
            <a:lvl3pPr rtl="0">
              <a:spcBef>
                <a:spcPts val="684"/>
              </a:spcBef>
              <a:defRPr/>
            </a:lvl3pPr>
            <a:lvl4pPr rtl="0">
              <a:spcBef>
                <a:spcPts val="684"/>
              </a:spcBef>
              <a:defRPr/>
            </a:lvl4pPr>
            <a:lvl5pPr rtl="0">
              <a:spcBef>
                <a:spcPts val="684"/>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4" name="Graphic 10">
            <a:extLst>
              <a:ext uri="{FF2B5EF4-FFF2-40B4-BE49-F238E27FC236}">
                <a16:creationId xmlns:a16="http://schemas.microsoft.com/office/drawing/2014/main" id="{0E150405-1EA0-472E-9E5D-2235E50DE009}"/>
              </a:ext>
            </a:extLst>
          </p:cNvPr>
          <p:cNvSpPr/>
          <p:nvPr/>
        </p:nvSpPr>
        <p:spPr bwMode="gray">
          <a:xfrm>
            <a:off x="7405771" y="1445971"/>
            <a:ext cx="1242065" cy="3966787"/>
          </a:xfrm>
          <a:custGeom>
            <a:avLst/>
            <a:gdLst>
              <a:gd name="connsiteX0" fmla="*/ 814878 w 816959"/>
              <a:gd name="connsiteY0" fmla="*/ -338 h 2599182"/>
              <a:gd name="connsiteX1" fmla="*/ 814878 w 816959"/>
              <a:gd name="connsiteY1" fmla="*/ 1144757 h 2599182"/>
              <a:gd name="connsiteX2" fmla="*/ 814878 w 816959"/>
              <a:gd name="connsiteY2" fmla="*/ 1174094 h 2599182"/>
              <a:gd name="connsiteX3" fmla="*/ 814878 w 816959"/>
              <a:gd name="connsiteY3" fmla="*/ 1194954 h 2599182"/>
              <a:gd name="connsiteX4" fmla="*/ 814306 w 816959"/>
              <a:gd name="connsiteY4" fmla="*/ 1219719 h 2599182"/>
              <a:gd name="connsiteX5" fmla="*/ 813164 w 816959"/>
              <a:gd name="connsiteY5" fmla="*/ 1252961 h 2599182"/>
              <a:gd name="connsiteX6" fmla="*/ 811925 w 816959"/>
              <a:gd name="connsiteY6" fmla="*/ 1281536 h 2599182"/>
              <a:gd name="connsiteX7" fmla="*/ 811925 w 816959"/>
              <a:gd name="connsiteY7" fmla="*/ 1286013 h 2599182"/>
              <a:gd name="connsiteX8" fmla="*/ 810116 w 816959"/>
              <a:gd name="connsiteY8" fmla="*/ 1316874 h 2599182"/>
              <a:gd name="connsiteX9" fmla="*/ 810116 w 816959"/>
              <a:gd name="connsiteY9" fmla="*/ 1317731 h 2599182"/>
              <a:gd name="connsiteX10" fmla="*/ 807734 w 816959"/>
              <a:gd name="connsiteY10" fmla="*/ 1351069 h 2599182"/>
              <a:gd name="connsiteX11" fmla="*/ 804876 w 816959"/>
              <a:gd name="connsiteY11" fmla="*/ 1384025 h 2599182"/>
              <a:gd name="connsiteX12" fmla="*/ 801639 w 816959"/>
              <a:gd name="connsiteY12" fmla="*/ 1416505 h 2599182"/>
              <a:gd name="connsiteX13" fmla="*/ 797923 w 816959"/>
              <a:gd name="connsiteY13" fmla="*/ 1448605 h 2599182"/>
              <a:gd name="connsiteX14" fmla="*/ 790875 w 816959"/>
              <a:gd name="connsiteY14" fmla="*/ 1501087 h 2599182"/>
              <a:gd name="connsiteX15" fmla="*/ 790875 w 816959"/>
              <a:gd name="connsiteY15" fmla="*/ 1502802 h 2599182"/>
              <a:gd name="connsiteX16" fmla="*/ 788494 w 816959"/>
              <a:gd name="connsiteY16" fmla="*/ 1518994 h 2599182"/>
              <a:gd name="connsiteX17" fmla="*/ 778969 w 816959"/>
              <a:gd name="connsiteY17" fmla="*/ 1575002 h 2599182"/>
              <a:gd name="connsiteX18" fmla="*/ 773539 w 816959"/>
              <a:gd name="connsiteY18" fmla="*/ 1603577 h 2599182"/>
              <a:gd name="connsiteX19" fmla="*/ 767825 w 816959"/>
              <a:gd name="connsiteY19" fmla="*/ 1631103 h 2599182"/>
              <a:gd name="connsiteX20" fmla="*/ 767825 w 816959"/>
              <a:gd name="connsiteY20" fmla="*/ 1633199 h 2599182"/>
              <a:gd name="connsiteX21" fmla="*/ 761442 w 816959"/>
              <a:gd name="connsiteY21" fmla="*/ 1661774 h 2599182"/>
              <a:gd name="connsiteX22" fmla="*/ 761442 w 816959"/>
              <a:gd name="connsiteY22" fmla="*/ 1663489 h 2599182"/>
              <a:gd name="connsiteX23" fmla="*/ 754584 w 816959"/>
              <a:gd name="connsiteY23" fmla="*/ 1691397 h 2599182"/>
              <a:gd name="connsiteX24" fmla="*/ 754584 w 816959"/>
              <a:gd name="connsiteY24" fmla="*/ 1693016 h 2599182"/>
              <a:gd name="connsiteX25" fmla="*/ 747536 w 816959"/>
              <a:gd name="connsiteY25" fmla="*/ 1719781 h 2599182"/>
              <a:gd name="connsiteX26" fmla="*/ 731439 w 816959"/>
              <a:gd name="connsiteY26" fmla="*/ 1775503 h 2599182"/>
              <a:gd name="connsiteX27" fmla="*/ 722772 w 816959"/>
              <a:gd name="connsiteY27" fmla="*/ 1802744 h 2599182"/>
              <a:gd name="connsiteX28" fmla="*/ 713247 w 816959"/>
              <a:gd name="connsiteY28" fmla="*/ 1829605 h 2599182"/>
              <a:gd name="connsiteX29" fmla="*/ 713247 w 816959"/>
              <a:gd name="connsiteY29" fmla="*/ 1830557 h 2599182"/>
              <a:gd name="connsiteX30" fmla="*/ 703722 w 816959"/>
              <a:gd name="connsiteY30" fmla="*/ 1855989 h 2599182"/>
              <a:gd name="connsiteX31" fmla="*/ 677719 w 816959"/>
              <a:gd name="connsiteY31" fmla="*/ 1921902 h 2599182"/>
              <a:gd name="connsiteX32" fmla="*/ 664669 w 816959"/>
              <a:gd name="connsiteY32" fmla="*/ 1951906 h 2599182"/>
              <a:gd name="connsiteX33" fmla="*/ -2081 w 816959"/>
              <a:gd name="connsiteY33" fmla="*/ 2598844 h 2599182"/>
              <a:gd name="connsiteX34" fmla="*/ -2081 w 816959"/>
              <a:gd name="connsiteY34" fmla="*/ 1453272 h 2599182"/>
              <a:gd name="connsiteX35" fmla="*/ -2081 w 816959"/>
              <a:gd name="connsiteY35" fmla="*/ 1423935 h 2599182"/>
              <a:gd name="connsiteX36" fmla="*/ -2081 w 816959"/>
              <a:gd name="connsiteY36" fmla="*/ 1403075 h 2599182"/>
              <a:gd name="connsiteX37" fmla="*/ -1509 w 816959"/>
              <a:gd name="connsiteY37" fmla="*/ 1378310 h 2599182"/>
              <a:gd name="connsiteX38" fmla="*/ -367 w 816959"/>
              <a:gd name="connsiteY38" fmla="*/ 1344401 h 2599182"/>
              <a:gd name="connsiteX39" fmla="*/ 872 w 816959"/>
              <a:gd name="connsiteY39" fmla="*/ 1316874 h 2599182"/>
              <a:gd name="connsiteX40" fmla="*/ 872 w 816959"/>
              <a:gd name="connsiteY40" fmla="*/ 1311826 h 2599182"/>
              <a:gd name="connsiteX41" fmla="*/ 2681 w 816959"/>
              <a:gd name="connsiteY41" fmla="*/ 1281155 h 2599182"/>
              <a:gd name="connsiteX42" fmla="*/ 2681 w 816959"/>
              <a:gd name="connsiteY42" fmla="*/ 1280298 h 2599182"/>
              <a:gd name="connsiteX43" fmla="*/ 5062 w 816959"/>
              <a:gd name="connsiteY43" fmla="*/ 1246961 h 2599182"/>
              <a:gd name="connsiteX44" fmla="*/ 7920 w 816959"/>
              <a:gd name="connsiteY44" fmla="*/ 1214099 h 2599182"/>
              <a:gd name="connsiteX45" fmla="*/ 11160 w 816959"/>
              <a:gd name="connsiteY45" fmla="*/ 1181524 h 2599182"/>
              <a:gd name="connsiteX46" fmla="*/ 14873 w 816959"/>
              <a:gd name="connsiteY46" fmla="*/ 1149425 h 2599182"/>
              <a:gd name="connsiteX47" fmla="*/ 18969 w 816959"/>
              <a:gd name="connsiteY47" fmla="*/ 1117706 h 2599182"/>
              <a:gd name="connsiteX48" fmla="*/ 22208 w 816959"/>
              <a:gd name="connsiteY48" fmla="*/ 1095227 h 2599182"/>
              <a:gd name="connsiteX49" fmla="*/ 24398 w 816959"/>
              <a:gd name="connsiteY49" fmla="*/ 1080749 h 2599182"/>
              <a:gd name="connsiteX50" fmla="*/ 28494 w 816959"/>
              <a:gd name="connsiteY50" fmla="*/ 1055508 h 2599182"/>
              <a:gd name="connsiteX51" fmla="*/ 34496 w 816959"/>
              <a:gd name="connsiteY51" fmla="*/ 1021503 h 2599182"/>
              <a:gd name="connsiteX52" fmla="*/ 39639 w 816959"/>
              <a:gd name="connsiteY52" fmla="*/ 994929 h 2599182"/>
              <a:gd name="connsiteX53" fmla="*/ 45353 w 816959"/>
              <a:gd name="connsiteY53" fmla="*/ 967497 h 2599182"/>
              <a:gd name="connsiteX54" fmla="*/ 45925 w 816959"/>
              <a:gd name="connsiteY54" fmla="*/ 964830 h 2599182"/>
              <a:gd name="connsiteX55" fmla="*/ 59450 w 816959"/>
              <a:gd name="connsiteY55" fmla="*/ 907203 h 2599182"/>
              <a:gd name="connsiteX56" fmla="*/ 66880 w 816959"/>
              <a:gd name="connsiteY56" fmla="*/ 878628 h 2599182"/>
              <a:gd name="connsiteX57" fmla="*/ 82976 w 816959"/>
              <a:gd name="connsiteY57" fmla="*/ 823003 h 2599182"/>
              <a:gd name="connsiteX58" fmla="*/ 91646 w 816959"/>
              <a:gd name="connsiteY58" fmla="*/ 795761 h 2599182"/>
              <a:gd name="connsiteX59" fmla="*/ 101171 w 816959"/>
              <a:gd name="connsiteY59" fmla="*/ 768901 h 2599182"/>
              <a:gd name="connsiteX60" fmla="*/ 101171 w 816959"/>
              <a:gd name="connsiteY60" fmla="*/ 767948 h 2599182"/>
              <a:gd name="connsiteX61" fmla="*/ 113647 w 816959"/>
              <a:gd name="connsiteY61" fmla="*/ 733372 h 2599182"/>
              <a:gd name="connsiteX62" fmla="*/ 140698 w 816959"/>
              <a:gd name="connsiteY62" fmla="*/ 666697 h 2599182"/>
              <a:gd name="connsiteX63" fmla="*/ 140698 w 816959"/>
              <a:gd name="connsiteY63" fmla="*/ 666697 h 2599182"/>
              <a:gd name="connsiteX64" fmla="*/ 153844 w 816959"/>
              <a:gd name="connsiteY64" fmla="*/ 637170 h 2599182"/>
              <a:gd name="connsiteX65" fmla="*/ 181752 w 816959"/>
              <a:gd name="connsiteY65" fmla="*/ 580020 h 2599182"/>
              <a:gd name="connsiteX66" fmla="*/ 196516 w 816959"/>
              <a:gd name="connsiteY66" fmla="*/ 552112 h 2599182"/>
              <a:gd name="connsiteX67" fmla="*/ 814878 w 816959"/>
              <a:gd name="connsiteY67" fmla="*/ -338 h 259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816959" h="2599182">
                <a:moveTo>
                  <a:pt x="814878" y="-338"/>
                </a:moveTo>
                <a:lnTo>
                  <a:pt x="814878" y="1144757"/>
                </a:lnTo>
                <a:cubicBezTo>
                  <a:pt x="814878" y="1154282"/>
                  <a:pt x="814878" y="1164378"/>
                  <a:pt x="814878" y="1174094"/>
                </a:cubicBezTo>
                <a:cubicBezTo>
                  <a:pt x="814878" y="1181076"/>
                  <a:pt x="814878" y="1188029"/>
                  <a:pt x="814878" y="1194954"/>
                </a:cubicBezTo>
                <a:cubicBezTo>
                  <a:pt x="814878" y="1203241"/>
                  <a:pt x="814878" y="1211527"/>
                  <a:pt x="814306" y="1219719"/>
                </a:cubicBezTo>
                <a:cubicBezTo>
                  <a:pt x="814306" y="1230863"/>
                  <a:pt x="813641" y="1241912"/>
                  <a:pt x="813164" y="1252961"/>
                </a:cubicBezTo>
                <a:cubicBezTo>
                  <a:pt x="813164" y="1262486"/>
                  <a:pt x="812402" y="1272011"/>
                  <a:pt x="811925" y="1281536"/>
                </a:cubicBezTo>
                <a:cubicBezTo>
                  <a:pt x="811925" y="1283060"/>
                  <a:pt x="811925" y="1284584"/>
                  <a:pt x="811925" y="1286013"/>
                </a:cubicBezTo>
                <a:cubicBezTo>
                  <a:pt x="811353" y="1296395"/>
                  <a:pt x="810783" y="1306587"/>
                  <a:pt x="810116" y="1316874"/>
                </a:cubicBezTo>
                <a:cubicBezTo>
                  <a:pt x="810116" y="1317160"/>
                  <a:pt x="810116" y="1317445"/>
                  <a:pt x="810116" y="1317731"/>
                </a:cubicBezTo>
                <a:cubicBezTo>
                  <a:pt x="809448" y="1328875"/>
                  <a:pt x="808593" y="1340019"/>
                  <a:pt x="807734" y="1351069"/>
                </a:cubicBezTo>
                <a:cubicBezTo>
                  <a:pt x="806876" y="1362117"/>
                  <a:pt x="805925" y="1373071"/>
                  <a:pt x="804876" y="1384025"/>
                </a:cubicBezTo>
                <a:cubicBezTo>
                  <a:pt x="803830" y="1394979"/>
                  <a:pt x="802781" y="1405742"/>
                  <a:pt x="801639" y="1416505"/>
                </a:cubicBezTo>
                <a:cubicBezTo>
                  <a:pt x="800495" y="1427269"/>
                  <a:pt x="799258" y="1438032"/>
                  <a:pt x="797923" y="1448605"/>
                </a:cubicBezTo>
                <a:cubicBezTo>
                  <a:pt x="795828" y="1466321"/>
                  <a:pt x="793447" y="1483819"/>
                  <a:pt x="790875" y="1501087"/>
                </a:cubicBezTo>
                <a:lnTo>
                  <a:pt x="790875" y="1502802"/>
                </a:lnTo>
                <a:cubicBezTo>
                  <a:pt x="790112" y="1508231"/>
                  <a:pt x="789256" y="1513661"/>
                  <a:pt x="788494" y="1518994"/>
                </a:cubicBezTo>
                <a:cubicBezTo>
                  <a:pt x="785540" y="1538044"/>
                  <a:pt x="782303" y="1556713"/>
                  <a:pt x="778969" y="1575002"/>
                </a:cubicBezTo>
                <a:cubicBezTo>
                  <a:pt x="777255" y="1584527"/>
                  <a:pt x="775446" y="1594052"/>
                  <a:pt x="773539" y="1603577"/>
                </a:cubicBezTo>
                <a:cubicBezTo>
                  <a:pt x="771634" y="1613102"/>
                  <a:pt x="769825" y="1621960"/>
                  <a:pt x="767825" y="1631103"/>
                </a:cubicBezTo>
                <a:cubicBezTo>
                  <a:pt x="767825" y="1631770"/>
                  <a:pt x="767825" y="1632532"/>
                  <a:pt x="767825" y="1633199"/>
                </a:cubicBezTo>
                <a:cubicBezTo>
                  <a:pt x="765730" y="1642724"/>
                  <a:pt x="763635" y="1652249"/>
                  <a:pt x="761442" y="1661774"/>
                </a:cubicBezTo>
                <a:cubicBezTo>
                  <a:pt x="761442" y="1662346"/>
                  <a:pt x="761442" y="1662917"/>
                  <a:pt x="761442" y="1663489"/>
                </a:cubicBezTo>
                <a:lnTo>
                  <a:pt x="754584" y="1691397"/>
                </a:lnTo>
                <a:cubicBezTo>
                  <a:pt x="754489" y="1691940"/>
                  <a:pt x="754489" y="1692473"/>
                  <a:pt x="754584" y="1693016"/>
                </a:cubicBezTo>
                <a:cubicBezTo>
                  <a:pt x="752298" y="1701969"/>
                  <a:pt x="749917" y="1710923"/>
                  <a:pt x="747536" y="1719781"/>
                </a:cubicBezTo>
                <a:cubicBezTo>
                  <a:pt x="742392" y="1738831"/>
                  <a:pt x="737060" y="1757405"/>
                  <a:pt x="731439" y="1775503"/>
                </a:cubicBezTo>
                <a:cubicBezTo>
                  <a:pt x="728581" y="1785028"/>
                  <a:pt x="725723" y="1793695"/>
                  <a:pt x="722772" y="1802744"/>
                </a:cubicBezTo>
                <a:cubicBezTo>
                  <a:pt x="719819" y="1811793"/>
                  <a:pt x="716770" y="1820651"/>
                  <a:pt x="713247" y="1829605"/>
                </a:cubicBezTo>
                <a:lnTo>
                  <a:pt x="713247" y="1830557"/>
                </a:lnTo>
                <a:lnTo>
                  <a:pt x="703722" y="1855989"/>
                </a:lnTo>
                <a:cubicBezTo>
                  <a:pt x="695434" y="1878401"/>
                  <a:pt x="686767" y="1900375"/>
                  <a:pt x="677719" y="1921902"/>
                </a:cubicBezTo>
                <a:cubicBezTo>
                  <a:pt x="673431" y="1931998"/>
                  <a:pt x="669050" y="1941999"/>
                  <a:pt x="664669" y="1951906"/>
                </a:cubicBezTo>
                <a:cubicBezTo>
                  <a:pt x="526461" y="2258706"/>
                  <a:pt x="298433" y="2473018"/>
                  <a:pt x="-2081" y="2598844"/>
                </a:cubicBezTo>
                <a:lnTo>
                  <a:pt x="-2081" y="1453272"/>
                </a:lnTo>
                <a:cubicBezTo>
                  <a:pt x="-2081" y="1443747"/>
                  <a:pt x="-2081" y="1433650"/>
                  <a:pt x="-2081" y="1423935"/>
                </a:cubicBezTo>
                <a:cubicBezTo>
                  <a:pt x="-2081" y="1416953"/>
                  <a:pt x="-2081" y="1410000"/>
                  <a:pt x="-2081" y="1403075"/>
                </a:cubicBezTo>
                <a:cubicBezTo>
                  <a:pt x="-2081" y="1394788"/>
                  <a:pt x="-2081" y="1386501"/>
                  <a:pt x="-1509" y="1378310"/>
                </a:cubicBezTo>
                <a:cubicBezTo>
                  <a:pt x="-1509" y="1366975"/>
                  <a:pt x="-842" y="1355641"/>
                  <a:pt x="-367" y="1344401"/>
                </a:cubicBezTo>
                <a:cubicBezTo>
                  <a:pt x="-367" y="1334876"/>
                  <a:pt x="395" y="1326018"/>
                  <a:pt x="872" y="1316874"/>
                </a:cubicBezTo>
                <a:cubicBezTo>
                  <a:pt x="872" y="1315159"/>
                  <a:pt x="872" y="1313540"/>
                  <a:pt x="872" y="1311826"/>
                </a:cubicBezTo>
                <a:cubicBezTo>
                  <a:pt x="1444" y="1301539"/>
                  <a:pt x="2014" y="1291347"/>
                  <a:pt x="2681" y="1281155"/>
                </a:cubicBezTo>
                <a:cubicBezTo>
                  <a:pt x="2681" y="1280869"/>
                  <a:pt x="2681" y="1280583"/>
                  <a:pt x="2681" y="1280298"/>
                </a:cubicBezTo>
                <a:cubicBezTo>
                  <a:pt x="3349" y="1269153"/>
                  <a:pt x="4204" y="1258009"/>
                  <a:pt x="5062" y="1246961"/>
                </a:cubicBezTo>
                <a:cubicBezTo>
                  <a:pt x="5921" y="1235911"/>
                  <a:pt x="6872" y="1224958"/>
                  <a:pt x="7920" y="1214099"/>
                </a:cubicBezTo>
                <a:cubicBezTo>
                  <a:pt x="8967" y="1203241"/>
                  <a:pt x="10016" y="1192287"/>
                  <a:pt x="11160" y="1181524"/>
                </a:cubicBezTo>
                <a:cubicBezTo>
                  <a:pt x="12302" y="1170761"/>
                  <a:pt x="13541" y="1160093"/>
                  <a:pt x="14873" y="1149425"/>
                </a:cubicBezTo>
                <a:cubicBezTo>
                  <a:pt x="16206" y="1138756"/>
                  <a:pt x="17541" y="1128183"/>
                  <a:pt x="18969" y="1117706"/>
                </a:cubicBezTo>
                <a:cubicBezTo>
                  <a:pt x="20017" y="1110181"/>
                  <a:pt x="21064" y="1102657"/>
                  <a:pt x="22208" y="1095227"/>
                </a:cubicBezTo>
                <a:cubicBezTo>
                  <a:pt x="22875" y="1090369"/>
                  <a:pt x="23636" y="1085702"/>
                  <a:pt x="24398" y="1080749"/>
                </a:cubicBezTo>
                <a:cubicBezTo>
                  <a:pt x="25636" y="1072272"/>
                  <a:pt x="27066" y="1063890"/>
                  <a:pt x="28494" y="1055508"/>
                </a:cubicBezTo>
                <a:cubicBezTo>
                  <a:pt x="30398" y="1044078"/>
                  <a:pt x="32400" y="1032743"/>
                  <a:pt x="34496" y="1021503"/>
                </a:cubicBezTo>
                <a:cubicBezTo>
                  <a:pt x="36114" y="1012674"/>
                  <a:pt x="37828" y="1003815"/>
                  <a:pt x="39639" y="994929"/>
                </a:cubicBezTo>
                <a:cubicBezTo>
                  <a:pt x="41449" y="986042"/>
                  <a:pt x="43353" y="976898"/>
                  <a:pt x="45353" y="967497"/>
                </a:cubicBezTo>
                <a:lnTo>
                  <a:pt x="45925" y="964830"/>
                </a:lnTo>
                <a:cubicBezTo>
                  <a:pt x="50211" y="945399"/>
                  <a:pt x="54687" y="926187"/>
                  <a:pt x="59450" y="907203"/>
                </a:cubicBezTo>
                <a:lnTo>
                  <a:pt x="66880" y="878628"/>
                </a:lnTo>
                <a:cubicBezTo>
                  <a:pt x="72023" y="859578"/>
                  <a:pt x="77358" y="841034"/>
                  <a:pt x="82976" y="823003"/>
                </a:cubicBezTo>
                <a:cubicBezTo>
                  <a:pt x="85834" y="813478"/>
                  <a:pt x="88692" y="804715"/>
                  <a:pt x="91646" y="795761"/>
                </a:cubicBezTo>
                <a:cubicBezTo>
                  <a:pt x="94597" y="786808"/>
                  <a:pt x="97645" y="777759"/>
                  <a:pt x="101171" y="768901"/>
                </a:cubicBezTo>
                <a:cubicBezTo>
                  <a:pt x="101266" y="768586"/>
                  <a:pt x="101266" y="768262"/>
                  <a:pt x="101171" y="767948"/>
                </a:cubicBezTo>
                <a:cubicBezTo>
                  <a:pt x="105266" y="756328"/>
                  <a:pt x="109361" y="744802"/>
                  <a:pt x="113647" y="733372"/>
                </a:cubicBezTo>
                <a:cubicBezTo>
                  <a:pt x="122220" y="710636"/>
                  <a:pt x="131269" y="688414"/>
                  <a:pt x="140698" y="666697"/>
                </a:cubicBezTo>
                <a:lnTo>
                  <a:pt x="140698" y="666697"/>
                </a:lnTo>
                <a:cubicBezTo>
                  <a:pt x="144984" y="657172"/>
                  <a:pt x="149365" y="646885"/>
                  <a:pt x="153844" y="637170"/>
                </a:cubicBezTo>
                <a:cubicBezTo>
                  <a:pt x="162797" y="617739"/>
                  <a:pt x="172131" y="598689"/>
                  <a:pt x="181752" y="580020"/>
                </a:cubicBezTo>
                <a:cubicBezTo>
                  <a:pt x="186610" y="570495"/>
                  <a:pt x="191277" y="560970"/>
                  <a:pt x="196516" y="552112"/>
                </a:cubicBezTo>
                <a:cubicBezTo>
                  <a:pt x="335675" y="295222"/>
                  <a:pt x="546369" y="112152"/>
                  <a:pt x="814878" y="-338"/>
                </a:cubicBezTo>
                <a:close/>
              </a:path>
            </a:pathLst>
          </a:custGeom>
          <a:gradFill>
            <a:gsLst>
              <a:gs pos="20000">
                <a:schemeClr val="tx1"/>
              </a:gs>
              <a:gs pos="80000">
                <a:schemeClr val="accent2"/>
              </a:gs>
            </a:gsLst>
            <a:lin ang="18600000" scaled="0"/>
          </a:gradFill>
          <a:ln w="9525" cap="flat">
            <a:noFill/>
            <a:prstDash val="solid"/>
            <a:miter/>
          </a:ln>
        </p:spPr>
        <p:txBody>
          <a:bodyPr rtlCol="0" anchor="ctr"/>
          <a:lstStyle/>
          <a:p>
            <a:pPr rtl="0"/>
            <a:endParaRPr lang="en-US" sz="2053"/>
          </a:p>
        </p:txBody>
      </p:sp>
      <p:sp>
        <p:nvSpPr>
          <p:cNvPr id="34" name="Graphic 32">
            <a:extLst>
              <a:ext uri="{FF2B5EF4-FFF2-40B4-BE49-F238E27FC236}">
                <a16:creationId xmlns:a16="http://schemas.microsoft.com/office/drawing/2014/main" id="{1572E2E3-0271-4F94-A245-B5A1AB17B20B}"/>
              </a:ext>
            </a:extLst>
          </p:cNvPr>
          <p:cNvSpPr/>
          <p:nvPr/>
        </p:nvSpPr>
        <p:spPr bwMode="gray">
          <a:xfrm>
            <a:off x="7684692" y="3085555"/>
            <a:ext cx="684222" cy="686891"/>
          </a:xfrm>
          <a:custGeom>
            <a:avLst/>
            <a:gdLst>
              <a:gd name="connsiteX0" fmla="*/ 1345124 w 3844671"/>
              <a:gd name="connsiteY0" fmla="*/ 580777 h 3844956"/>
              <a:gd name="connsiteX1" fmla="*/ 1345124 w 3844671"/>
              <a:gd name="connsiteY1" fmla="*/ 1346111 h 3844956"/>
              <a:gd name="connsiteX2" fmla="*/ 579791 w 3844671"/>
              <a:gd name="connsiteY2" fmla="*/ 1346111 h 3844956"/>
              <a:gd name="connsiteX3" fmla="*/ -1234 w 3844671"/>
              <a:gd name="connsiteY3" fmla="*/ 1920278 h 3844956"/>
              <a:gd name="connsiteX4" fmla="*/ 579791 w 3844671"/>
              <a:gd name="connsiteY4" fmla="*/ 2498159 h 3844956"/>
              <a:gd name="connsiteX5" fmla="*/ 1345124 w 3844671"/>
              <a:gd name="connsiteY5" fmla="*/ 2498159 h 3844956"/>
              <a:gd name="connsiteX6" fmla="*/ 1345124 w 3844671"/>
              <a:gd name="connsiteY6" fmla="*/ 3263207 h 3844956"/>
              <a:gd name="connsiteX7" fmla="*/ 1919292 w 3844671"/>
              <a:gd name="connsiteY7" fmla="*/ 3844708 h 3844956"/>
              <a:gd name="connsiteX8" fmla="*/ 2497174 w 3844671"/>
              <a:gd name="connsiteY8" fmla="*/ 3263207 h 3844956"/>
              <a:gd name="connsiteX9" fmla="*/ 2497174 w 3844671"/>
              <a:gd name="connsiteY9" fmla="*/ 2498159 h 3844956"/>
              <a:gd name="connsiteX10" fmla="*/ 3262412 w 3844671"/>
              <a:gd name="connsiteY10" fmla="*/ 2498159 h 3844956"/>
              <a:gd name="connsiteX11" fmla="*/ 3843437 w 3844671"/>
              <a:gd name="connsiteY11" fmla="*/ 1923992 h 3844956"/>
              <a:gd name="connsiteX12" fmla="*/ 3262412 w 3844671"/>
              <a:gd name="connsiteY12" fmla="*/ 1346111 h 3844956"/>
              <a:gd name="connsiteX13" fmla="*/ 2497078 w 3844671"/>
              <a:gd name="connsiteY13" fmla="*/ 1346111 h 3844956"/>
              <a:gd name="connsiteX14" fmla="*/ 2497078 w 3844671"/>
              <a:gd name="connsiteY14" fmla="*/ 580777 h 3844956"/>
              <a:gd name="connsiteX15" fmla="*/ 1922911 w 3844671"/>
              <a:gd name="connsiteY15" fmla="*/ -248 h 3844956"/>
              <a:gd name="connsiteX16" fmla="*/ 1345029 w 3844671"/>
              <a:gd name="connsiteY16" fmla="*/ 580777 h 384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44671" h="3844956">
                <a:moveTo>
                  <a:pt x="1345124" y="580777"/>
                </a:moveTo>
                <a:lnTo>
                  <a:pt x="1345124" y="1346111"/>
                </a:lnTo>
                <a:lnTo>
                  <a:pt x="579791" y="1346111"/>
                </a:lnTo>
                <a:cubicBezTo>
                  <a:pt x="184789" y="1346111"/>
                  <a:pt x="-1234" y="1569186"/>
                  <a:pt x="-1234" y="1920278"/>
                </a:cubicBezTo>
                <a:cubicBezTo>
                  <a:pt x="-1234" y="2275084"/>
                  <a:pt x="185265" y="2498159"/>
                  <a:pt x="579791" y="2498159"/>
                </a:cubicBezTo>
                <a:lnTo>
                  <a:pt x="1345124" y="2498159"/>
                </a:lnTo>
                <a:lnTo>
                  <a:pt x="1345124" y="3263207"/>
                </a:lnTo>
                <a:cubicBezTo>
                  <a:pt x="1345124" y="3658209"/>
                  <a:pt x="1568200" y="3844708"/>
                  <a:pt x="1919292" y="3844708"/>
                </a:cubicBezTo>
                <a:cubicBezTo>
                  <a:pt x="2274098" y="3844708"/>
                  <a:pt x="2497174" y="3658209"/>
                  <a:pt x="2497174" y="3263207"/>
                </a:cubicBezTo>
                <a:lnTo>
                  <a:pt x="2497174" y="2498159"/>
                </a:lnTo>
                <a:lnTo>
                  <a:pt x="3262412" y="2498159"/>
                </a:lnTo>
                <a:cubicBezTo>
                  <a:pt x="3657318" y="2498159"/>
                  <a:pt x="3843437" y="2275084"/>
                  <a:pt x="3843437" y="1923992"/>
                </a:cubicBezTo>
                <a:cubicBezTo>
                  <a:pt x="3843437" y="1569186"/>
                  <a:pt x="3656843" y="1346111"/>
                  <a:pt x="3262412" y="1346111"/>
                </a:cubicBezTo>
                <a:lnTo>
                  <a:pt x="2497078" y="1346111"/>
                </a:lnTo>
                <a:lnTo>
                  <a:pt x="2497078" y="580777"/>
                </a:lnTo>
                <a:cubicBezTo>
                  <a:pt x="2497078" y="185870"/>
                  <a:pt x="2274003" y="-248"/>
                  <a:pt x="1922911" y="-248"/>
                </a:cubicBezTo>
                <a:cubicBezTo>
                  <a:pt x="1568105" y="-248"/>
                  <a:pt x="1345029" y="186346"/>
                  <a:pt x="1345029" y="580777"/>
                </a:cubicBezTo>
              </a:path>
            </a:pathLst>
          </a:custGeom>
          <a:solidFill>
            <a:schemeClr val="bg2"/>
          </a:solidFill>
          <a:ln w="9525" cap="flat">
            <a:noFill/>
            <a:prstDash val="solid"/>
            <a:miter/>
          </a:ln>
        </p:spPr>
        <p:txBody>
          <a:bodyPr rtlCol="0" anchor="ctr"/>
          <a:lstStyle/>
          <a:p>
            <a:pPr rtl="0"/>
            <a:endParaRPr lang="en-US" sz="2053"/>
          </a:p>
        </p:txBody>
      </p:sp>
    </p:spTree>
    <p:extLst>
      <p:ext uri="{BB962C8B-B14F-4D97-AF65-F5344CB8AC3E}">
        <p14:creationId xmlns:p14="http://schemas.microsoft.com/office/powerpoint/2010/main" val="890254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0D1434A-A80E-4326-86FD-081E459A56BB}"/>
              </a:ext>
            </a:extLst>
          </p:cNvPr>
          <p:cNvGraphicFramePr>
            <a:graphicFrameLocks noChangeAspect="1"/>
          </p:cNvGraphicFramePr>
          <p:nvPr>
            <p:custDataLst>
              <p:tags r:id="rId1"/>
            </p:custDataLst>
            <p:extLst>
              <p:ext uri="{D42A27DB-BD31-4B8C-83A1-F6EECF244321}">
                <p14:modId xmlns:p14="http://schemas.microsoft.com/office/powerpoint/2010/main" val="62135020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0D1434A-A80E-4326-86FD-081E459A56B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2078056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B32D9CD-D587-4A0A-AADE-22E88642E156}"/>
              </a:ext>
            </a:extLst>
          </p:cNvPr>
          <p:cNvGraphicFramePr>
            <a:graphicFrameLocks noChangeAspect="1"/>
          </p:cNvGraphicFramePr>
          <p:nvPr>
            <p:custDataLst>
              <p:tags r:id="rId1"/>
            </p:custDataLst>
            <p:extLst>
              <p:ext uri="{D42A27DB-BD31-4B8C-83A1-F6EECF244321}">
                <p14:modId xmlns:p14="http://schemas.microsoft.com/office/powerpoint/2010/main" val="106974861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2B32D9CD-D587-4A0A-AADE-22E88642E15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5"/>
            <a:ext cx="5448837" cy="4121342"/>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6248966" y="1666345"/>
            <a:ext cx="5448837" cy="4121342"/>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41143414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images w/ descri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8F2FE9-3CEB-4BBA-8E1A-0A3C035369EB}"/>
              </a:ext>
            </a:extLst>
          </p:cNvPr>
          <p:cNvGraphicFramePr>
            <a:graphicFrameLocks noChangeAspect="1"/>
          </p:cNvGraphicFramePr>
          <p:nvPr>
            <p:custDataLst>
              <p:tags r:id="rId1"/>
            </p:custDataLst>
            <p:extLst>
              <p:ext uri="{D42A27DB-BD31-4B8C-83A1-F6EECF244321}">
                <p14:modId xmlns:p14="http://schemas.microsoft.com/office/powerpoint/2010/main" val="17445137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68F2FE9-3CEB-4BBA-8E1A-0A3C035369E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6"/>
            <a:ext cx="5448837" cy="3729348"/>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6248966" y="1666346"/>
            <a:ext cx="5448837" cy="3729348"/>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92386" y="5486945"/>
            <a:ext cx="5448837"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6248965" y="5486945"/>
            <a:ext cx="5448836"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Tree>
    <p:extLst>
      <p:ext uri="{BB962C8B-B14F-4D97-AF65-F5344CB8AC3E}">
        <p14:creationId xmlns:p14="http://schemas.microsoft.com/office/powerpoint/2010/main" val="3533705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C357A48-8305-483F-BFA6-F1E9DC572066}"/>
              </a:ext>
            </a:extLst>
          </p:cNvPr>
          <p:cNvGraphicFramePr>
            <a:graphicFrameLocks noChangeAspect="1"/>
          </p:cNvGraphicFramePr>
          <p:nvPr>
            <p:custDataLst>
              <p:tags r:id="rId1"/>
            </p:custDataLst>
            <p:extLst>
              <p:ext uri="{D42A27DB-BD31-4B8C-83A1-F6EECF244321}">
                <p14:modId xmlns:p14="http://schemas.microsoft.com/office/powerpoint/2010/main" val="303480113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8C357A48-8305-483F-BFA6-F1E9DC57206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5"/>
            <a:ext cx="3537219" cy="4121911"/>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666345"/>
            <a:ext cx="3558941" cy="4121911"/>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666345"/>
            <a:ext cx="3537219" cy="4121342"/>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1548304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images w/ description">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6E68AEE-C8FF-46B4-8EB1-1ADC9CFA96F5}"/>
              </a:ext>
            </a:extLst>
          </p:cNvPr>
          <p:cNvGraphicFramePr>
            <a:graphicFrameLocks noChangeAspect="1"/>
          </p:cNvGraphicFramePr>
          <p:nvPr>
            <p:custDataLst>
              <p:tags r:id="rId1"/>
            </p:custDataLst>
            <p:extLst>
              <p:ext uri="{D42A27DB-BD31-4B8C-83A1-F6EECF244321}">
                <p14:modId xmlns:p14="http://schemas.microsoft.com/office/powerpoint/2010/main" val="19050207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56E68AEE-C8FF-46B4-8EB1-1ADC9CFA96F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6"/>
            <a:ext cx="3537219" cy="3729348"/>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666346"/>
            <a:ext cx="3558941" cy="3729348"/>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92386" y="5486945"/>
            <a:ext cx="3537220"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4315625" y="5486945"/>
            <a:ext cx="3558941"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666346"/>
            <a:ext cx="3537219" cy="3728833"/>
          </a:xfrm>
          <a:solidFill>
            <a:schemeClr val="bg1"/>
          </a:solidFill>
        </p:spPr>
        <p:txBody>
          <a:bodyPr/>
          <a:lstStyle>
            <a:lvl1pPr rtl="0">
              <a:defRPr/>
            </a:lvl1pPr>
          </a:lstStyle>
          <a:p>
            <a:r>
              <a:rPr lang="en-US"/>
              <a:t> </a:t>
            </a:r>
          </a:p>
        </p:txBody>
      </p:sp>
      <p:sp>
        <p:nvSpPr>
          <p:cNvPr id="12" name="Text Placeholder 11">
            <a:extLst>
              <a:ext uri="{FF2B5EF4-FFF2-40B4-BE49-F238E27FC236}">
                <a16:creationId xmlns:a16="http://schemas.microsoft.com/office/drawing/2014/main" id="{05550665-57B1-4E59-AF5E-4CFF21249F68}"/>
              </a:ext>
            </a:extLst>
          </p:cNvPr>
          <p:cNvSpPr>
            <a:spLocks noGrp="1"/>
          </p:cNvSpPr>
          <p:nvPr>
            <p:ph type="body" sz="quarter" idx="17" hasCustomPrompt="1"/>
          </p:nvPr>
        </p:nvSpPr>
        <p:spPr bwMode="gray">
          <a:xfrm>
            <a:off x="8160583" y="5486945"/>
            <a:ext cx="3537219" cy="301587"/>
          </a:xfrm>
        </p:spPr>
        <p:txBody>
          <a:bodyPr>
            <a:noAutofit/>
          </a:bodyPr>
          <a:lstStyle>
            <a:lvl1pPr rtl="0">
              <a:lnSpc>
                <a:spcPct val="110000"/>
              </a:lnSpc>
              <a:spcBef>
                <a:spcPts val="0"/>
              </a:spcBef>
              <a:defRPr sz="912"/>
            </a:lvl1pPr>
          </a:lstStyle>
          <a:p>
            <a:pPr lvl="0"/>
            <a:r>
              <a:rPr lang="en-US"/>
              <a:t>Photo description </a:t>
            </a:r>
            <a:br>
              <a:rPr lang="en-US"/>
            </a:br>
            <a:r>
              <a:rPr lang="en-US"/>
              <a:t>two rows</a:t>
            </a:r>
          </a:p>
        </p:txBody>
      </p:sp>
    </p:spTree>
    <p:extLst>
      <p:ext uri="{BB962C8B-B14F-4D97-AF65-F5344CB8AC3E}">
        <p14:creationId xmlns:p14="http://schemas.microsoft.com/office/powerpoint/2010/main" val="14136081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AD8F5A0-4FA8-4D2B-BFDB-66434FCCE3EA}"/>
              </a:ext>
            </a:extLst>
          </p:cNvPr>
          <p:cNvGraphicFramePr>
            <a:graphicFrameLocks noChangeAspect="1"/>
          </p:cNvGraphicFramePr>
          <p:nvPr>
            <p:custDataLst>
              <p:tags r:id="rId1"/>
            </p:custDataLst>
            <p:extLst>
              <p:ext uri="{D42A27DB-BD31-4B8C-83A1-F6EECF244321}">
                <p14:modId xmlns:p14="http://schemas.microsoft.com/office/powerpoint/2010/main" val="4757455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AD8F5A0-4FA8-4D2B-BFDB-66434FCCE3EA}"/>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666344"/>
            <a:ext cx="3537219" cy="1936789"/>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666344"/>
            <a:ext cx="3558941" cy="1936789"/>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666345"/>
            <a:ext cx="3537219" cy="1936789"/>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92387" y="3850899"/>
            <a:ext cx="3537217" cy="1936789"/>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4315624" y="3850899"/>
            <a:ext cx="3558941" cy="1936789"/>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8160584" y="3850899"/>
            <a:ext cx="3537217" cy="1936789"/>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42511578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6 images bi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2A09E1A-7412-4C0D-B619-41B007285673}"/>
              </a:ext>
            </a:extLst>
          </p:cNvPr>
          <p:cNvGraphicFramePr>
            <a:graphicFrameLocks noChangeAspect="1"/>
          </p:cNvGraphicFramePr>
          <p:nvPr>
            <p:custDataLst>
              <p:tags r:id="rId1"/>
            </p:custDataLst>
            <p:extLst>
              <p:ext uri="{D42A27DB-BD31-4B8C-83A1-F6EECF244321}">
                <p14:modId xmlns:p14="http://schemas.microsoft.com/office/powerpoint/2010/main" val="40930760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2A09E1A-7412-4C0D-B619-41B00728567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92387" y="1395536"/>
            <a:ext cx="3537219" cy="2060413"/>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4315625" y="1395536"/>
            <a:ext cx="3558941" cy="2060413"/>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8160584" y="1395538"/>
            <a:ext cx="3537219" cy="2060413"/>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92387" y="3727274"/>
            <a:ext cx="3537217" cy="2060413"/>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4315624" y="3727274"/>
            <a:ext cx="3558941" cy="2060413"/>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8160584" y="3727274"/>
            <a:ext cx="3537217" cy="2060413"/>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2717045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break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4A253AC-2162-4D58-BB0F-6A06A49936EB}"/>
              </a:ext>
            </a:extLst>
          </p:cNvPr>
          <p:cNvGraphicFramePr>
            <a:graphicFrameLocks noChangeAspect="1"/>
          </p:cNvGraphicFramePr>
          <p:nvPr>
            <p:custDataLst>
              <p:tags r:id="rId1"/>
            </p:custDataLst>
            <p:extLst>
              <p:ext uri="{D42A27DB-BD31-4B8C-83A1-F6EECF244321}">
                <p14:modId xmlns:p14="http://schemas.microsoft.com/office/powerpoint/2010/main" val="153819965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4A253AC-2162-4D58-BB0F-6A06A49936E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p:nvSpPr>
        <p:spPr bwMode="gray">
          <a:xfrm>
            <a:off x="1"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p:cNvSpPr>
            <a:spLocks noGrp="1"/>
          </p:cNvSpPr>
          <p:nvPr>
            <p:ph type="title" hasCustomPrompt="1"/>
          </p:nvPr>
        </p:nvSpPr>
        <p:spPr bwMode="gray">
          <a:xfrm>
            <a:off x="492388" y="1666346"/>
            <a:ext cx="11205415" cy="717368"/>
          </a:xfrm>
        </p:spPr>
        <p:txBody>
          <a:bodyPr vert="horz" tIns="72000" anchor="t">
            <a:noAutofit/>
          </a:bodyPr>
          <a:lstStyle>
            <a:lvl1pPr rtl="0">
              <a:lnSpc>
                <a:spcPct val="100000"/>
              </a:lnSpc>
              <a:defRPr sz="4105">
                <a:solidFill>
                  <a:schemeClr val="bg2"/>
                </a:solidFill>
              </a:defRPr>
            </a:lvl1pPr>
          </a:lstStyle>
          <a:p>
            <a:r>
              <a:rPr lang="en-US"/>
              <a:t>Section title, Poppins Medium, 36pt</a:t>
            </a:r>
          </a:p>
        </p:txBody>
      </p:sp>
      <p:sp>
        <p:nvSpPr>
          <p:cNvPr id="3" name="Text Placeholder 2"/>
          <p:cNvSpPr>
            <a:spLocks noGrp="1"/>
          </p:cNvSpPr>
          <p:nvPr>
            <p:ph type="body" idx="1" hasCustomPrompt="1"/>
          </p:nvPr>
        </p:nvSpPr>
        <p:spPr bwMode="gray">
          <a:xfrm>
            <a:off x="492387" y="2355330"/>
            <a:ext cx="11205416" cy="1268294"/>
          </a:xfrm>
        </p:spPr>
        <p:txBody>
          <a:bodyPr>
            <a:noAutofit/>
          </a:bodyPr>
          <a:lstStyle>
            <a:lvl1pPr marL="0" indent="0" rtl="0">
              <a:lnSpc>
                <a:spcPct val="100000"/>
              </a:lnSpc>
              <a:spcBef>
                <a:spcPts val="0"/>
              </a:spcBef>
              <a:buNone/>
              <a:defRPr sz="4105">
                <a:solidFill>
                  <a:schemeClr val="bg2"/>
                </a:solidFill>
                <a:latin typeface="Poppins Light" panose="00000400000000000000" pitchFamily="2" charset="0"/>
                <a:cs typeface="Poppins Light" panose="00000400000000000000" pitchFamily="2" charset="0"/>
              </a:defRPr>
            </a:lvl1pPr>
            <a:lvl2pPr marL="455447" indent="0">
              <a:buNone/>
              <a:defRPr sz="1992">
                <a:solidFill>
                  <a:schemeClr val="tx1">
                    <a:tint val="75000"/>
                  </a:schemeClr>
                </a:solidFill>
              </a:defRPr>
            </a:lvl2pPr>
            <a:lvl3pPr marL="910894" indent="0">
              <a:buNone/>
              <a:defRPr sz="1793">
                <a:solidFill>
                  <a:schemeClr val="tx1">
                    <a:tint val="75000"/>
                  </a:schemeClr>
                </a:solidFill>
              </a:defRPr>
            </a:lvl3pPr>
            <a:lvl4pPr marL="1366342" indent="0">
              <a:buNone/>
              <a:defRPr sz="1594">
                <a:solidFill>
                  <a:schemeClr val="tx1">
                    <a:tint val="75000"/>
                  </a:schemeClr>
                </a:solidFill>
              </a:defRPr>
            </a:lvl4pPr>
            <a:lvl5pPr marL="1821789" indent="0">
              <a:buNone/>
              <a:defRPr sz="1594">
                <a:solidFill>
                  <a:schemeClr val="tx1">
                    <a:tint val="75000"/>
                  </a:schemeClr>
                </a:solidFill>
              </a:defRPr>
            </a:lvl5pPr>
            <a:lvl6pPr marL="2277236" indent="0">
              <a:buNone/>
              <a:defRPr sz="1594">
                <a:solidFill>
                  <a:schemeClr val="tx1">
                    <a:tint val="75000"/>
                  </a:schemeClr>
                </a:solidFill>
              </a:defRPr>
            </a:lvl6pPr>
            <a:lvl7pPr marL="2732683" indent="0">
              <a:buNone/>
              <a:defRPr sz="1594">
                <a:solidFill>
                  <a:schemeClr val="tx1">
                    <a:tint val="75000"/>
                  </a:schemeClr>
                </a:solidFill>
              </a:defRPr>
            </a:lvl7pPr>
            <a:lvl8pPr marL="3188129" indent="0">
              <a:buNone/>
              <a:defRPr sz="1594">
                <a:solidFill>
                  <a:schemeClr val="tx1">
                    <a:tint val="75000"/>
                  </a:schemeClr>
                </a:solidFill>
              </a:defRPr>
            </a:lvl8pPr>
            <a:lvl9pPr marL="3643577" indent="0">
              <a:buNone/>
              <a:defRPr sz="1594">
                <a:solidFill>
                  <a:schemeClr val="tx1">
                    <a:tint val="75000"/>
                  </a:schemeClr>
                </a:solidFill>
              </a:defRPr>
            </a:lvl9pPr>
          </a:lstStyle>
          <a:p>
            <a:pPr lvl="0"/>
            <a:r>
              <a:rPr lang="en-US"/>
              <a:t>Subheading, Poppins Light, 36p</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92387" y="496088"/>
            <a:ext cx="1623790" cy="298284"/>
          </a:xfrm>
        </p:spPr>
        <p:txBody>
          <a:bodyPr>
            <a:noAutofit/>
          </a:bodyPr>
          <a:lstStyle>
            <a:lvl1pPr rtl="0">
              <a:lnSpc>
                <a:spcPct val="110000"/>
              </a:lnSpc>
              <a:defRPr sz="1824">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spTree>
    <p:extLst>
      <p:ext uri="{BB962C8B-B14F-4D97-AF65-F5344CB8AC3E}">
        <p14:creationId xmlns:p14="http://schemas.microsoft.com/office/powerpoint/2010/main" val="29344579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FE67A3-F84A-4675-BD57-5B79F24D7E02}"/>
              </a:ext>
            </a:extLst>
          </p:cNvPr>
          <p:cNvGraphicFramePr>
            <a:graphicFrameLocks noChangeAspect="1"/>
          </p:cNvGraphicFramePr>
          <p:nvPr>
            <p:custDataLst>
              <p:tags r:id="rId1"/>
            </p:custDataLst>
            <p:extLst>
              <p:ext uri="{D42A27DB-BD31-4B8C-83A1-F6EECF244321}">
                <p14:modId xmlns:p14="http://schemas.microsoft.com/office/powerpoint/2010/main" val="350988342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4FE67A3-F84A-4675-BD57-5B79F24D7E02}"/>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C7103-9D0F-4FE8-89B1-CCEBCE3DA210}"/>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1B9D9705-6A15-4BDE-B552-744584207911}"/>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DB0114D3-D499-4F76-8225-46121D38D770}"/>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Chart Placeholder 6">
            <a:extLst>
              <a:ext uri="{FF2B5EF4-FFF2-40B4-BE49-F238E27FC236}">
                <a16:creationId xmlns:a16="http://schemas.microsoft.com/office/drawing/2014/main" id="{C2FF66D4-3A30-4CAA-AC8F-84E3613094C1}"/>
              </a:ext>
            </a:extLst>
          </p:cNvPr>
          <p:cNvSpPr>
            <a:spLocks noGrp="1"/>
          </p:cNvSpPr>
          <p:nvPr>
            <p:ph type="chart" sz="quarter" idx="12"/>
          </p:nvPr>
        </p:nvSpPr>
        <p:spPr bwMode="gray">
          <a:xfrm>
            <a:off x="492387" y="2049768"/>
            <a:ext cx="5448837" cy="3737919"/>
          </a:xfrm>
        </p:spPr>
        <p:txBody>
          <a:bodyPr/>
          <a:lstStyle/>
          <a:p>
            <a:r>
              <a:rPr lang="nl-NL"/>
              <a:t>Klik op het pictogram als u een grafiek wilt toevoegen</a:t>
            </a:r>
            <a:endParaRPr lang="en-US"/>
          </a:p>
        </p:txBody>
      </p:sp>
      <p:sp>
        <p:nvSpPr>
          <p:cNvPr id="9" name="Chart Placeholder 8">
            <a:extLst>
              <a:ext uri="{FF2B5EF4-FFF2-40B4-BE49-F238E27FC236}">
                <a16:creationId xmlns:a16="http://schemas.microsoft.com/office/drawing/2014/main" id="{0111A8C2-4296-4C16-95F7-423BAD30BE44}"/>
              </a:ext>
            </a:extLst>
          </p:cNvPr>
          <p:cNvSpPr>
            <a:spLocks noGrp="1"/>
          </p:cNvSpPr>
          <p:nvPr>
            <p:ph type="chart" sz="quarter" idx="13"/>
          </p:nvPr>
        </p:nvSpPr>
        <p:spPr bwMode="gray">
          <a:xfrm>
            <a:off x="6248966" y="2049768"/>
            <a:ext cx="5448837" cy="3737919"/>
          </a:xfrm>
        </p:spPr>
        <p:txBody>
          <a:bodyPr/>
          <a:lstStyle/>
          <a:p>
            <a:r>
              <a:rPr lang="nl-NL"/>
              <a:t>Klik op het pictogram als u een grafiek wilt toevoegen</a:t>
            </a:r>
            <a:endParaRPr lang="en-US"/>
          </a:p>
        </p:txBody>
      </p:sp>
      <p:sp>
        <p:nvSpPr>
          <p:cNvPr id="11" name="Text Placeholder 10">
            <a:extLst>
              <a:ext uri="{FF2B5EF4-FFF2-40B4-BE49-F238E27FC236}">
                <a16:creationId xmlns:a16="http://schemas.microsoft.com/office/drawing/2014/main" id="{3775B58E-1D2A-4AFD-8E3E-14DBB7C5465E}"/>
              </a:ext>
            </a:extLst>
          </p:cNvPr>
          <p:cNvSpPr>
            <a:spLocks noGrp="1"/>
          </p:cNvSpPr>
          <p:nvPr>
            <p:ph type="body" sz="quarter" idx="14"/>
          </p:nvPr>
        </p:nvSpPr>
        <p:spPr bwMode="gray">
          <a:xfrm>
            <a:off x="492387" y="1666346"/>
            <a:ext cx="5448836" cy="230612"/>
          </a:xfrm>
        </p:spPr>
        <p:txBody>
          <a:bodyPr>
            <a:noAutofit/>
          </a:bodyPr>
          <a:lstStyle>
            <a:lvl1pPr rtl="0">
              <a:defRPr b="1"/>
            </a:lvl1pPr>
          </a:lstStyle>
          <a:p>
            <a:pPr lvl="0"/>
            <a:r>
              <a:rPr lang="nl-NL"/>
              <a:t>Klikken om de tekststijl van het model te bewerken</a:t>
            </a:r>
          </a:p>
        </p:txBody>
      </p:sp>
      <p:sp>
        <p:nvSpPr>
          <p:cNvPr id="13" name="Text Placeholder 12">
            <a:extLst>
              <a:ext uri="{FF2B5EF4-FFF2-40B4-BE49-F238E27FC236}">
                <a16:creationId xmlns:a16="http://schemas.microsoft.com/office/drawing/2014/main" id="{C1B0A94E-8E7B-4584-93D1-574B70C5ACE2}"/>
              </a:ext>
            </a:extLst>
          </p:cNvPr>
          <p:cNvSpPr>
            <a:spLocks noGrp="1"/>
          </p:cNvSpPr>
          <p:nvPr>
            <p:ph type="body" sz="quarter" idx="15"/>
          </p:nvPr>
        </p:nvSpPr>
        <p:spPr bwMode="gray">
          <a:xfrm>
            <a:off x="6248966" y="1666346"/>
            <a:ext cx="5448837" cy="230612"/>
          </a:xfrm>
        </p:spPr>
        <p:txBody>
          <a:bodyPr>
            <a:noAutofit/>
          </a:bodyPr>
          <a:lstStyle>
            <a:lvl1pPr rtl="0">
              <a:defRPr b="1"/>
            </a:lvl1pPr>
          </a:lstStyle>
          <a:p>
            <a:pPr lvl="0"/>
            <a:r>
              <a:rPr lang="nl-NL"/>
              <a:t>Klikken om de tekststijl van het model te bewerken</a:t>
            </a:r>
          </a:p>
        </p:txBody>
      </p:sp>
    </p:spTree>
    <p:extLst>
      <p:ext uri="{BB962C8B-B14F-4D97-AF65-F5344CB8AC3E}">
        <p14:creationId xmlns:p14="http://schemas.microsoft.com/office/powerpoint/2010/main" val="5011603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ig tab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49A0F3-E45D-4FD9-98FA-F9F6529B9723}"/>
              </a:ext>
            </a:extLst>
          </p:cNvPr>
          <p:cNvGraphicFramePr>
            <a:graphicFrameLocks noChangeAspect="1"/>
          </p:cNvGraphicFramePr>
          <p:nvPr>
            <p:custDataLst>
              <p:tags r:id="rId1"/>
            </p:custDataLst>
            <p:extLst>
              <p:ext uri="{D42A27DB-BD31-4B8C-83A1-F6EECF244321}">
                <p14:modId xmlns:p14="http://schemas.microsoft.com/office/powerpoint/2010/main" val="312997121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F49A0F3-E45D-4FD9-98FA-F9F6529B972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19BE4-1469-4C22-BEF2-C825506D7EE2}"/>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8BF12A5E-3D66-47D9-BAFE-F0647069EF77}"/>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B176B872-AF46-49F6-BEC3-F2A401F2B71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able Placeholder 6">
            <a:extLst>
              <a:ext uri="{FF2B5EF4-FFF2-40B4-BE49-F238E27FC236}">
                <a16:creationId xmlns:a16="http://schemas.microsoft.com/office/drawing/2014/main" id="{40D93AD9-277E-4DBD-8BE6-0685BF70EA10}"/>
              </a:ext>
            </a:extLst>
          </p:cNvPr>
          <p:cNvSpPr>
            <a:spLocks noGrp="1"/>
          </p:cNvSpPr>
          <p:nvPr>
            <p:ph type="tbl" sz="quarter" idx="12"/>
          </p:nvPr>
        </p:nvSpPr>
        <p:spPr bwMode="gray"/>
        <p:txBody>
          <a:bodyPr/>
          <a:lstStyle/>
          <a:p>
            <a:r>
              <a:rPr lang="nl-NL"/>
              <a:t>Klik op het pictogram als u een tabel wilt toevoegen</a:t>
            </a:r>
            <a:endParaRPr lang="en-US"/>
          </a:p>
        </p:txBody>
      </p:sp>
    </p:spTree>
    <p:extLst>
      <p:ext uri="{BB962C8B-B14F-4D97-AF65-F5344CB8AC3E}">
        <p14:creationId xmlns:p14="http://schemas.microsoft.com/office/powerpoint/2010/main" val="22495605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 icons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DE3AF4-C1F0-4196-AA89-9F045EC60721}"/>
              </a:ext>
            </a:extLst>
          </p:cNvPr>
          <p:cNvGraphicFramePr>
            <a:graphicFrameLocks noChangeAspect="1"/>
          </p:cNvGraphicFramePr>
          <p:nvPr>
            <p:custDataLst>
              <p:tags r:id="rId1"/>
            </p:custDataLst>
            <p:extLst>
              <p:ext uri="{D42A27DB-BD31-4B8C-83A1-F6EECF244321}">
                <p14:modId xmlns:p14="http://schemas.microsoft.com/office/powerpoint/2010/main" val="300159515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0DE3AF4-C1F0-4196-AA89-9F045EC6072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2123522" y="1666345"/>
            <a:ext cx="3817704" cy="1936789"/>
          </a:xfrm>
        </p:spPr>
        <p:txBody>
          <a:bodyPr/>
          <a:lstStyle>
            <a:lvl1pPr rtl="0">
              <a:defRPr b="1">
                <a:latin typeface="+mn-lt"/>
              </a:defRPr>
            </a:lvl1pPr>
            <a:lvl2pPr marL="0" indent="0" algn="l" rtl="0">
              <a:spcBef>
                <a:spcPts val="1939"/>
              </a:spcBef>
              <a:buFont typeface="Arial" panose="020B0604020202020204" pitchFamily="34" charset="0"/>
              <a:buNone/>
              <a:defRPr/>
            </a:lvl2pPr>
            <a:lvl3pPr marL="246305" indent="-246305">
              <a:defRPr/>
            </a:lvl3pPr>
            <a:lvl4pPr marL="492610" indent="-246305">
              <a:defRPr/>
            </a:lvl4pPr>
            <a:lvl5pPr marL="738914">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7880101" y="1666345"/>
            <a:ext cx="3817704" cy="1936789"/>
          </a:xfrm>
        </p:spPr>
        <p:txBody>
          <a:bodyPr/>
          <a:lstStyle>
            <a:lvl1pPr rtl="0">
              <a:defRPr b="1"/>
            </a:lvl1pPr>
            <a:lvl2pPr marL="0" indent="0" rtl="0">
              <a:spcBef>
                <a:spcPts val="1939"/>
              </a:spcBef>
              <a:buFont typeface="Arial" panose="020B0604020202020204" pitchFamily="34" charset="0"/>
              <a:buNone/>
              <a:defRPr/>
            </a:lvl2pPr>
            <a:lvl3pPr marL="246305">
              <a:defRPr/>
            </a:lvl3pPr>
            <a:lvl4pPr marL="492610">
              <a:defRPr/>
            </a:lvl4pPr>
            <a:lvl5pPr marL="738914">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2123522" y="3850899"/>
            <a:ext cx="3817702" cy="1936789"/>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7880103" y="3850899"/>
            <a:ext cx="3817700" cy="1936789"/>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92387" y="1666345"/>
            <a:ext cx="1279937" cy="1936789"/>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6246998" y="1666345"/>
            <a:ext cx="1280000" cy="1936789"/>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492387" y="3850899"/>
            <a:ext cx="1280000" cy="1936789"/>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6246998" y="3850899"/>
            <a:ext cx="1280000" cy="1936789"/>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900864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columns text and Ico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FDB7268-8012-494D-9FCE-DC549C3D787F}"/>
              </a:ext>
            </a:extLst>
          </p:cNvPr>
          <p:cNvGraphicFramePr>
            <a:graphicFrameLocks noChangeAspect="1"/>
          </p:cNvGraphicFramePr>
          <p:nvPr>
            <p:custDataLst>
              <p:tags r:id="rId1"/>
            </p:custDataLst>
            <p:extLst>
              <p:ext uri="{D42A27DB-BD31-4B8C-83A1-F6EECF244321}">
                <p14:modId xmlns:p14="http://schemas.microsoft.com/office/powerpoint/2010/main" val="389897090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0FDB7268-8012-494D-9FCE-DC549C3D787F}"/>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92451" y="1666345"/>
            <a:ext cx="2581283" cy="1550046"/>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3359815" y="1666345"/>
            <a:ext cx="2581409" cy="1550046"/>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6248966" y="1666345"/>
            <a:ext cx="2581409" cy="1550046"/>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9116393" y="1666345"/>
            <a:ext cx="2581409" cy="1550046"/>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7" y="3467160"/>
            <a:ext cx="2581409" cy="2320527"/>
          </a:xfrm>
        </p:spPr>
        <p:txBody>
          <a:bodyPr/>
          <a:lstStyle>
            <a:lvl1pPr rtl="0">
              <a:defRPr b="1">
                <a:latin typeface="+mn-lt"/>
              </a:defRPr>
            </a:lvl1pPr>
            <a:lvl2pPr marL="0" indent="0" algn="l" rtl="0">
              <a:spcBef>
                <a:spcPts val="1939"/>
              </a:spcBef>
              <a:buFont typeface="Arial" panose="020B0604020202020204" pitchFamily="34" charset="0"/>
              <a:buNone/>
              <a:defRPr/>
            </a:lvl2pPr>
            <a:lvl3pPr marL="246305" indent="-246305">
              <a:defRPr/>
            </a:lvl3pPr>
            <a:lvl4pPr marL="492610" indent="-246305">
              <a:defRPr/>
            </a:lvl4pPr>
            <a:lvl5pPr marL="738914">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359815" y="3467160"/>
            <a:ext cx="2581409" cy="2320527"/>
          </a:xfrm>
        </p:spPr>
        <p:txBody>
          <a:bodyPr/>
          <a:lstStyle>
            <a:lvl1pPr rtl="0">
              <a:defRPr b="1"/>
            </a:lvl1pPr>
            <a:lvl2pPr marL="0" indent="0" rtl="0">
              <a:spcBef>
                <a:spcPts val="1939"/>
              </a:spcBef>
              <a:buFont typeface="Arial" panose="020B0604020202020204" pitchFamily="34" charset="0"/>
              <a:buNone/>
              <a:defRPr/>
            </a:lvl2pPr>
            <a:lvl3pPr marL="246305">
              <a:defRPr/>
            </a:lvl3pPr>
            <a:lvl4pPr marL="492610">
              <a:defRPr/>
            </a:lvl4pPr>
            <a:lvl5pPr marL="738914">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6248966" y="3467160"/>
            <a:ext cx="2581409" cy="2320527"/>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9116393" y="3467160"/>
            <a:ext cx="2581409" cy="2320527"/>
          </a:xfrm>
        </p:spPr>
        <p:txBody>
          <a:bodyPr/>
          <a:lstStyle>
            <a:lvl1pPr rtl="0">
              <a:defRPr b="1"/>
            </a:lvl1pPr>
            <a:lvl2pPr marL="0" indent="0" rtl="0">
              <a:spcBef>
                <a:spcPts val="1939"/>
              </a:spcBef>
              <a:buFont typeface="Arial" panose="020B0604020202020204" pitchFamily="34" charset="0"/>
              <a:buNone/>
              <a:defRPr/>
            </a:lvl2pPr>
          </a:lstStyle>
          <a:p>
            <a:pPr lvl="0"/>
            <a:r>
              <a:rPr lang="en-US"/>
              <a:t>First level, Noto Sans Bold, 11pt</a:t>
            </a:r>
          </a:p>
          <a:p>
            <a:pPr lvl="1"/>
            <a:r>
              <a:rPr lang="en-US"/>
              <a:t>Second level, Noto Sans, 11pt</a:t>
            </a:r>
          </a:p>
        </p:txBody>
      </p:sp>
    </p:spTree>
    <p:extLst>
      <p:ext uri="{BB962C8B-B14F-4D97-AF65-F5344CB8AC3E}">
        <p14:creationId xmlns:p14="http://schemas.microsoft.com/office/powerpoint/2010/main" val="30314227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columns w/ images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50B2748-8BB4-4E60-B99F-8CFC6ACB24D6}"/>
              </a:ext>
            </a:extLst>
          </p:cNvPr>
          <p:cNvGraphicFramePr>
            <a:graphicFrameLocks noChangeAspect="1"/>
          </p:cNvGraphicFramePr>
          <p:nvPr>
            <p:custDataLst>
              <p:tags r:id="rId1"/>
            </p:custDataLst>
            <p:extLst>
              <p:ext uri="{D42A27DB-BD31-4B8C-83A1-F6EECF244321}">
                <p14:modId xmlns:p14="http://schemas.microsoft.com/office/powerpoint/2010/main" val="171775538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C50B2748-8BB4-4E60-B99F-8CFC6ACB24D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CD136C-E25B-411B-B8F5-35647640DDAE}"/>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ußzeilenplatzhalter 2">
            <a:extLst>
              <a:ext uri="{FF2B5EF4-FFF2-40B4-BE49-F238E27FC236}">
                <a16:creationId xmlns:a16="http://schemas.microsoft.com/office/drawing/2014/main" id="{9F37D0A1-30A1-4308-B5E2-DC6147FF89B6}"/>
              </a:ext>
            </a:extLst>
          </p:cNvPr>
          <p:cNvSpPr>
            <a:spLocks noGrp="1"/>
          </p:cNvSpPr>
          <p:nvPr>
            <p:ph type="ftr" sz="quarter" idx="10"/>
          </p:nvPr>
        </p:nvSpPr>
        <p:spPr bwMode="gray"/>
        <p:txBody>
          <a:bodyPr/>
          <a:lstStyle>
            <a:lvl1pPr rtl="0">
              <a:defRPr/>
            </a:lvl1pPr>
          </a:lstStyle>
          <a:p>
            <a:endParaRPr lang="nl-NL"/>
          </a:p>
        </p:txBody>
      </p:sp>
      <p:sp>
        <p:nvSpPr>
          <p:cNvPr id="4" name="Foliennummernplatzhalter 3">
            <a:extLst>
              <a:ext uri="{FF2B5EF4-FFF2-40B4-BE49-F238E27FC236}">
                <a16:creationId xmlns:a16="http://schemas.microsoft.com/office/drawing/2014/main" id="{32AD8276-5AFA-4382-B9D3-7D6F7CA20D9B}"/>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10" name="Textplatzhalter 9">
            <a:extLst>
              <a:ext uri="{FF2B5EF4-FFF2-40B4-BE49-F238E27FC236}">
                <a16:creationId xmlns:a16="http://schemas.microsoft.com/office/drawing/2014/main" id="{D41DEF86-038C-45CD-A90A-ADA68572BC0E}"/>
              </a:ext>
            </a:extLst>
          </p:cNvPr>
          <p:cNvSpPr>
            <a:spLocks noGrp="1"/>
          </p:cNvSpPr>
          <p:nvPr>
            <p:ph type="body" sz="quarter" idx="12" hasCustomPrompt="1"/>
          </p:nvPr>
        </p:nvSpPr>
        <p:spPr bwMode="gray">
          <a:xfrm>
            <a:off x="492385" y="1666346"/>
            <a:ext cx="3538615" cy="2175797"/>
          </a:xfrm>
          <a:solidFill>
            <a:srgbClr val="F0F0F2"/>
          </a:solidFill>
        </p:spPr>
        <p:txBody>
          <a:bodyPr lIns="288000" tIns="288000" rIns="288000" bIns="288000"/>
          <a:lstStyle>
            <a:lvl1pPr rtl="0">
              <a:defRPr/>
            </a:lvl1pPr>
            <a:lvl2pPr rtl="0">
              <a:spcBef>
                <a:spcPts val="684"/>
              </a:spcBef>
              <a:defRPr/>
            </a:lvl2pPr>
            <a:lvl3pPr rtl="0">
              <a:spcBef>
                <a:spcPts val="684"/>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2" name="Textplatzhalter 11">
            <a:extLst>
              <a:ext uri="{FF2B5EF4-FFF2-40B4-BE49-F238E27FC236}">
                <a16:creationId xmlns:a16="http://schemas.microsoft.com/office/drawing/2014/main" id="{0EAE6FE0-E638-4A9F-B2AE-528CB9B3F1D0}"/>
              </a:ext>
            </a:extLst>
          </p:cNvPr>
          <p:cNvSpPr>
            <a:spLocks noGrp="1"/>
          </p:cNvSpPr>
          <p:nvPr>
            <p:ph type="body" sz="quarter" idx="13" hasCustomPrompt="1"/>
          </p:nvPr>
        </p:nvSpPr>
        <p:spPr bwMode="gray">
          <a:xfrm>
            <a:off x="4335950" y="1666346"/>
            <a:ext cx="3538615" cy="2175797"/>
          </a:xfrm>
          <a:solidFill>
            <a:srgbClr val="F0F0F2"/>
          </a:solidFill>
        </p:spPr>
        <p:txBody>
          <a:bodyPr lIns="288000" tIns="288000" rIns="288000" bIns="288000"/>
          <a:lstStyle>
            <a:lvl1pPr rtl="0">
              <a:defRPr/>
            </a:lvl1pPr>
            <a:lvl2pPr rtl="0">
              <a:spcBef>
                <a:spcPts val="684"/>
              </a:spcBef>
              <a:defRPr/>
            </a:lvl2pPr>
            <a:lvl3pPr rtl="0">
              <a:spcBef>
                <a:spcPts val="684"/>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4" name="Textplatzhalter 13">
            <a:extLst>
              <a:ext uri="{FF2B5EF4-FFF2-40B4-BE49-F238E27FC236}">
                <a16:creationId xmlns:a16="http://schemas.microsoft.com/office/drawing/2014/main" id="{9E2B11E5-5D67-4AD1-9538-AFD6909C0877}"/>
              </a:ext>
            </a:extLst>
          </p:cNvPr>
          <p:cNvSpPr>
            <a:spLocks noGrp="1"/>
          </p:cNvSpPr>
          <p:nvPr>
            <p:ph type="body" sz="quarter" idx="14" hasCustomPrompt="1"/>
          </p:nvPr>
        </p:nvSpPr>
        <p:spPr bwMode="gray">
          <a:xfrm>
            <a:off x="8159187" y="1666346"/>
            <a:ext cx="3538615" cy="2175797"/>
          </a:xfrm>
          <a:solidFill>
            <a:srgbClr val="F0F0F2"/>
          </a:solidFill>
        </p:spPr>
        <p:txBody>
          <a:bodyPr lIns="288000" tIns="288000" rIns="288000" bIns="288000"/>
          <a:lstStyle>
            <a:lvl1pPr rtl="0">
              <a:defRPr/>
            </a:lvl1pPr>
            <a:lvl2pPr rtl="0">
              <a:spcBef>
                <a:spcPts val="684"/>
              </a:spcBef>
              <a:defRPr/>
            </a:lvl2pPr>
            <a:lvl3pPr rtl="0">
              <a:spcBef>
                <a:spcPts val="684"/>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6" name="Bildplatzhalter 15">
            <a:extLst>
              <a:ext uri="{FF2B5EF4-FFF2-40B4-BE49-F238E27FC236}">
                <a16:creationId xmlns:a16="http://schemas.microsoft.com/office/drawing/2014/main" id="{ED62F0BA-E0D8-4462-98D8-1BEC02846BE1}"/>
              </a:ext>
            </a:extLst>
          </p:cNvPr>
          <p:cNvSpPr>
            <a:spLocks noGrp="1"/>
          </p:cNvSpPr>
          <p:nvPr>
            <p:ph type="pic" sz="quarter" idx="15" hasCustomPrompt="1"/>
          </p:nvPr>
        </p:nvSpPr>
        <p:spPr bwMode="gray">
          <a:xfrm>
            <a:off x="492385" y="3842143"/>
            <a:ext cx="3538615" cy="1945030"/>
          </a:xfrm>
          <a:solidFill>
            <a:schemeClr val="bg1"/>
          </a:solidFill>
        </p:spPr>
        <p:txBody>
          <a:bodyPr/>
          <a:lstStyle>
            <a:lvl1pPr rtl="0">
              <a:defRPr/>
            </a:lvl1pPr>
          </a:lstStyle>
          <a:p>
            <a:r>
              <a:rPr lang="en-US"/>
              <a:t> </a:t>
            </a:r>
          </a:p>
        </p:txBody>
      </p:sp>
      <p:sp>
        <p:nvSpPr>
          <p:cNvPr id="18" name="Bildplatzhalter 17">
            <a:extLst>
              <a:ext uri="{FF2B5EF4-FFF2-40B4-BE49-F238E27FC236}">
                <a16:creationId xmlns:a16="http://schemas.microsoft.com/office/drawing/2014/main" id="{AEAAA656-DF07-4363-8548-DEDEC1B08C57}"/>
              </a:ext>
            </a:extLst>
          </p:cNvPr>
          <p:cNvSpPr>
            <a:spLocks noGrp="1"/>
          </p:cNvSpPr>
          <p:nvPr>
            <p:ph type="pic" sz="quarter" idx="16" hasCustomPrompt="1"/>
          </p:nvPr>
        </p:nvSpPr>
        <p:spPr bwMode="gray">
          <a:xfrm>
            <a:off x="4335950" y="3842143"/>
            <a:ext cx="3538615" cy="1945030"/>
          </a:xfrm>
          <a:solidFill>
            <a:schemeClr val="bg1"/>
          </a:solidFill>
        </p:spPr>
        <p:txBody>
          <a:bodyPr/>
          <a:lstStyle>
            <a:lvl1pPr rtl="0">
              <a:defRPr/>
            </a:lvl1pPr>
          </a:lstStyle>
          <a:p>
            <a:r>
              <a:rPr lang="en-US"/>
              <a:t> </a:t>
            </a:r>
          </a:p>
        </p:txBody>
      </p:sp>
      <p:sp>
        <p:nvSpPr>
          <p:cNvPr id="20" name="Bildplatzhalter 19">
            <a:extLst>
              <a:ext uri="{FF2B5EF4-FFF2-40B4-BE49-F238E27FC236}">
                <a16:creationId xmlns:a16="http://schemas.microsoft.com/office/drawing/2014/main" id="{6DA304B2-ADBE-406A-8B84-2B313D060250}"/>
              </a:ext>
            </a:extLst>
          </p:cNvPr>
          <p:cNvSpPr>
            <a:spLocks noGrp="1"/>
          </p:cNvSpPr>
          <p:nvPr>
            <p:ph type="pic" sz="quarter" idx="17" hasCustomPrompt="1"/>
          </p:nvPr>
        </p:nvSpPr>
        <p:spPr bwMode="gray">
          <a:xfrm>
            <a:off x="8159187" y="3842143"/>
            <a:ext cx="3538615" cy="194503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3874040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Process 4 steps">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7E434F6-CC43-42FD-82B6-B853AFCD9A01}"/>
              </a:ext>
            </a:extLst>
          </p:cNvPr>
          <p:cNvGraphicFramePr>
            <a:graphicFrameLocks noChangeAspect="1"/>
          </p:cNvGraphicFramePr>
          <p:nvPr>
            <p:custDataLst>
              <p:tags r:id="rId1"/>
            </p:custDataLst>
            <p:extLst>
              <p:ext uri="{D42A27DB-BD31-4B8C-83A1-F6EECF244321}">
                <p14:modId xmlns:p14="http://schemas.microsoft.com/office/powerpoint/2010/main" val="3458599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7E434F6-CC43-42FD-82B6-B853AFCD9A0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9" name="Textplatzhalter 28">
            <a:extLst>
              <a:ext uri="{FF2B5EF4-FFF2-40B4-BE49-F238E27FC236}">
                <a16:creationId xmlns:a16="http://schemas.microsoft.com/office/drawing/2014/main" id="{8B81FF80-440F-4777-B796-5EA5C1933C94}"/>
              </a:ext>
            </a:extLst>
          </p:cNvPr>
          <p:cNvSpPr>
            <a:spLocks noGrp="1"/>
          </p:cNvSpPr>
          <p:nvPr>
            <p:ph type="body" sz="quarter" idx="16" hasCustomPrompt="1"/>
          </p:nvPr>
        </p:nvSpPr>
        <p:spPr bwMode="gray">
          <a:xfrm>
            <a:off x="6271630" y="1128463"/>
            <a:ext cx="5425651" cy="4658668"/>
          </a:xfrm>
          <a:custGeom>
            <a:avLst/>
            <a:gdLst>
              <a:gd name="connsiteX0" fmla="*/ 0 w 4758042"/>
              <a:gd name="connsiteY0" fmla="*/ 0 h 4069864"/>
              <a:gd name="connsiteX1" fmla="*/ 2717709 w 4758042"/>
              <a:gd name="connsiteY1" fmla="*/ 0 h 4069864"/>
              <a:gd name="connsiteX2" fmla="*/ 2957284 w 4758042"/>
              <a:gd name="connsiteY2" fmla="*/ 8672 h 4069864"/>
              <a:gd name="connsiteX3" fmla="*/ 4750923 w 4758042"/>
              <a:gd name="connsiteY3" fmla="*/ 1811629 h 4069864"/>
              <a:gd name="connsiteX4" fmla="*/ 4758042 w 4758042"/>
              <a:gd name="connsiteY4" fmla="*/ 2022577 h 4069864"/>
              <a:gd name="connsiteX5" fmla="*/ 4758042 w 4758042"/>
              <a:gd name="connsiteY5" fmla="*/ 2059489 h 4069864"/>
              <a:gd name="connsiteX6" fmla="*/ 4750923 w 4758042"/>
              <a:gd name="connsiteY6" fmla="*/ 2268335 h 4069864"/>
              <a:gd name="connsiteX7" fmla="*/ 2704315 w 4758042"/>
              <a:gd name="connsiteY7" fmla="*/ 4069864 h 4069864"/>
              <a:gd name="connsiteX8" fmla="*/ 0 w 475804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042" h="4069864">
                <a:moveTo>
                  <a:pt x="0" y="0"/>
                </a:moveTo>
                <a:lnTo>
                  <a:pt x="2717709" y="0"/>
                </a:lnTo>
                <a:lnTo>
                  <a:pt x="2957284" y="8672"/>
                </a:lnTo>
                <a:cubicBezTo>
                  <a:pt x="4097748" y="93770"/>
                  <a:pt x="4678551" y="766833"/>
                  <a:pt x="4750923" y="1811629"/>
                </a:cubicBezTo>
                <a:lnTo>
                  <a:pt x="4758042" y="2022577"/>
                </a:lnTo>
                <a:lnTo>
                  <a:pt x="4758042" y="2059489"/>
                </a:lnTo>
                <a:lnTo>
                  <a:pt x="4750923" y="2268335"/>
                </a:lnTo>
                <a:cubicBezTo>
                  <a:pt x="4673382" y="3377065"/>
                  <a:pt x="4012182" y="4069864"/>
                  <a:pt x="2704315" y="4069864"/>
                </a:cubicBezTo>
                <a:lnTo>
                  <a:pt x="0" y="4069864"/>
                </a:lnTo>
                <a:close/>
              </a:path>
            </a:pathLst>
          </a:custGeom>
          <a:gradFill>
            <a:gsLst>
              <a:gs pos="20000">
                <a:schemeClr val="tx1"/>
              </a:gs>
              <a:gs pos="80000">
                <a:schemeClr val="accent2"/>
              </a:gs>
            </a:gsLst>
            <a:lin ang="18600000" scaled="0"/>
          </a:gradFill>
        </p:spPr>
        <p:txBody>
          <a:bodyPr wrap="square">
            <a:noAutofit/>
          </a:bodyPr>
          <a:lstStyle>
            <a:lvl1pPr rtl="0">
              <a:defRPr sz="114">
                <a:noFill/>
              </a:defRPr>
            </a:lvl1pPr>
          </a:lstStyle>
          <a:p>
            <a:pPr lvl="0"/>
            <a:r>
              <a:rPr lang="en-US"/>
              <a:t> </a:t>
            </a:r>
          </a:p>
        </p:txBody>
      </p:sp>
      <p:sp>
        <p:nvSpPr>
          <p:cNvPr id="28" name="Textplatzhalter 27">
            <a:extLst>
              <a:ext uri="{FF2B5EF4-FFF2-40B4-BE49-F238E27FC236}">
                <a16:creationId xmlns:a16="http://schemas.microsoft.com/office/drawing/2014/main" id="{FAE5EB7E-061F-4F1E-8A68-0F1527D713BA}"/>
              </a:ext>
            </a:extLst>
          </p:cNvPr>
          <p:cNvSpPr>
            <a:spLocks noGrp="1"/>
          </p:cNvSpPr>
          <p:nvPr>
            <p:ph type="body" sz="quarter" idx="15" hasCustomPrompt="1"/>
          </p:nvPr>
        </p:nvSpPr>
        <p:spPr bwMode="gray">
          <a:xfrm>
            <a:off x="3321913" y="1128463"/>
            <a:ext cx="5425843" cy="4658668"/>
          </a:xfrm>
          <a:custGeom>
            <a:avLst/>
            <a:gdLst>
              <a:gd name="connsiteX0" fmla="*/ 0 w 4758210"/>
              <a:gd name="connsiteY0" fmla="*/ 0 h 4069864"/>
              <a:gd name="connsiteX1" fmla="*/ 2717837 w 4758210"/>
              <a:gd name="connsiteY1" fmla="*/ 0 h 4069864"/>
              <a:gd name="connsiteX2" fmla="*/ 2957433 w 4758210"/>
              <a:gd name="connsiteY2" fmla="*/ 8672 h 4069864"/>
              <a:gd name="connsiteX3" fmla="*/ 4751176 w 4758210"/>
              <a:gd name="connsiteY3" fmla="*/ 1811629 h 4069864"/>
              <a:gd name="connsiteX4" fmla="*/ 4758210 w 4758210"/>
              <a:gd name="connsiteY4" fmla="*/ 2020071 h 4069864"/>
              <a:gd name="connsiteX5" fmla="*/ 4758210 w 4758210"/>
              <a:gd name="connsiteY5" fmla="*/ 2061970 h 4069864"/>
              <a:gd name="connsiteX6" fmla="*/ 4751176 w 4758210"/>
              <a:gd name="connsiteY6" fmla="*/ 2268335 h 4069864"/>
              <a:gd name="connsiteX7" fmla="*/ 2704441 w 4758210"/>
              <a:gd name="connsiteY7" fmla="*/ 4069864 h 4069864"/>
              <a:gd name="connsiteX8" fmla="*/ 0 w 4758210"/>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210" h="4069864">
                <a:moveTo>
                  <a:pt x="0" y="0"/>
                </a:moveTo>
                <a:lnTo>
                  <a:pt x="2717837" y="0"/>
                </a:lnTo>
                <a:lnTo>
                  <a:pt x="2957433" y="8672"/>
                </a:lnTo>
                <a:cubicBezTo>
                  <a:pt x="4097993" y="93770"/>
                  <a:pt x="4678804" y="766833"/>
                  <a:pt x="4751176" y="1811629"/>
                </a:cubicBezTo>
                <a:lnTo>
                  <a:pt x="4758210" y="2020071"/>
                </a:lnTo>
                <a:lnTo>
                  <a:pt x="4758210" y="2061970"/>
                </a:lnTo>
                <a:lnTo>
                  <a:pt x="4751176" y="2268335"/>
                </a:lnTo>
                <a:cubicBezTo>
                  <a:pt x="4673634" y="3377065"/>
                  <a:pt x="4012426" y="4069864"/>
                  <a:pt x="2704441" y="4069864"/>
                </a:cubicBezTo>
                <a:lnTo>
                  <a:pt x="0" y="4069864"/>
                </a:lnTo>
                <a:close/>
              </a:path>
            </a:pathLst>
          </a:custGeom>
          <a:solidFill>
            <a:srgbClr val="F0F0F2"/>
          </a:solidFill>
        </p:spPr>
        <p:txBody>
          <a:bodyPr wrap="square">
            <a:noAutofit/>
          </a:bodyPr>
          <a:lstStyle>
            <a:lvl1pPr rtl="0">
              <a:defRPr sz="114">
                <a:solidFill>
                  <a:srgbClr val="F0F0F2"/>
                </a:solidFill>
              </a:defRPr>
            </a:lvl1pPr>
          </a:lstStyle>
          <a:p>
            <a:pPr lvl="0"/>
            <a:r>
              <a:rPr lang="en-US"/>
              <a:t> </a:t>
            </a:r>
          </a:p>
        </p:txBody>
      </p:sp>
      <p:sp>
        <p:nvSpPr>
          <p:cNvPr id="2" name="Titel 1">
            <a:extLst>
              <a:ext uri="{FF2B5EF4-FFF2-40B4-BE49-F238E27FC236}">
                <a16:creationId xmlns:a16="http://schemas.microsoft.com/office/drawing/2014/main" id="{5CA6D6A9-6157-4864-965A-CB906AC6DABE}"/>
              </a:ext>
            </a:extLst>
          </p:cNvPr>
          <p:cNvSpPr>
            <a:spLocks noGrp="1"/>
          </p:cNvSpPr>
          <p:nvPr>
            <p:ph type="title" hasCustomPrompt="1"/>
          </p:nvPr>
        </p:nvSpPr>
        <p:spPr bwMode="gray">
          <a:xfrm>
            <a:off x="492387" y="496088"/>
            <a:ext cx="11205416" cy="306798"/>
          </a:xfrm>
        </p:spPr>
        <p:txBody>
          <a:bodyPr vert="horz">
            <a:noAutofit/>
          </a:bodyPr>
          <a:lstStyle>
            <a:lvl1pPr rtl="0">
              <a:defRPr/>
            </a:lvl1pPr>
          </a:lstStyle>
          <a:p>
            <a:r>
              <a:rPr lang="en-US"/>
              <a:t>Headline, Poppins Regular, 16pt</a:t>
            </a:r>
          </a:p>
        </p:txBody>
      </p:sp>
      <p:sp>
        <p:nvSpPr>
          <p:cNvPr id="3" name="Fußzeilenplatzhalter 2">
            <a:extLst>
              <a:ext uri="{FF2B5EF4-FFF2-40B4-BE49-F238E27FC236}">
                <a16:creationId xmlns:a16="http://schemas.microsoft.com/office/drawing/2014/main" id="{3550728D-8F4D-45E4-AC77-7E9F9AAE18C8}"/>
              </a:ext>
            </a:extLst>
          </p:cNvPr>
          <p:cNvSpPr>
            <a:spLocks noGrp="1"/>
          </p:cNvSpPr>
          <p:nvPr>
            <p:ph type="ftr" sz="quarter" idx="10"/>
          </p:nvPr>
        </p:nvSpPr>
        <p:spPr bwMode="gray"/>
        <p:txBody>
          <a:bodyPr/>
          <a:lstStyle>
            <a:lvl1pPr rtl="0">
              <a:defRPr/>
            </a:lvl1pPr>
          </a:lstStyle>
          <a:p>
            <a:endParaRPr lang="nl-NL"/>
          </a:p>
        </p:txBody>
      </p:sp>
      <p:sp>
        <p:nvSpPr>
          <p:cNvPr id="4" name="Foliennummernplatzhalter 3">
            <a:extLst>
              <a:ext uri="{FF2B5EF4-FFF2-40B4-BE49-F238E27FC236}">
                <a16:creationId xmlns:a16="http://schemas.microsoft.com/office/drawing/2014/main" id="{E29AB88C-3558-49A9-9D34-E9B0C9F3BFEB}"/>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27" name="Textplatzhalter 26">
            <a:extLst>
              <a:ext uri="{FF2B5EF4-FFF2-40B4-BE49-F238E27FC236}">
                <a16:creationId xmlns:a16="http://schemas.microsoft.com/office/drawing/2014/main" id="{5BA999ED-D9FD-435F-808D-49D33CED20D6}"/>
              </a:ext>
            </a:extLst>
          </p:cNvPr>
          <p:cNvSpPr>
            <a:spLocks noGrp="1"/>
          </p:cNvSpPr>
          <p:nvPr>
            <p:ph type="body" sz="quarter" idx="14" hasCustomPrompt="1"/>
          </p:nvPr>
        </p:nvSpPr>
        <p:spPr bwMode="gray">
          <a:xfrm>
            <a:off x="385145" y="1128463"/>
            <a:ext cx="5412893" cy="4658668"/>
          </a:xfrm>
          <a:custGeom>
            <a:avLst/>
            <a:gdLst>
              <a:gd name="connsiteX0" fmla="*/ 0 w 4746854"/>
              <a:gd name="connsiteY0" fmla="*/ 0 h 4069864"/>
              <a:gd name="connsiteX1" fmla="*/ 2711280 w 4746854"/>
              <a:gd name="connsiteY1" fmla="*/ 0 h 4069864"/>
              <a:gd name="connsiteX2" fmla="*/ 2950422 w 4746854"/>
              <a:gd name="connsiteY2" fmla="*/ 8672 h 4069864"/>
              <a:gd name="connsiteX3" fmla="*/ 4739847 w 4746854"/>
              <a:gd name="connsiteY3" fmla="*/ 1811648 h 4069864"/>
              <a:gd name="connsiteX4" fmla="*/ 4746854 w 4746854"/>
              <a:gd name="connsiteY4" fmla="*/ 2020011 h 4069864"/>
              <a:gd name="connsiteX5" fmla="*/ 4746854 w 4746854"/>
              <a:gd name="connsiteY5" fmla="*/ 2062057 h 4069864"/>
              <a:gd name="connsiteX6" fmla="*/ 4739847 w 4746854"/>
              <a:gd name="connsiteY6" fmla="*/ 2268340 h 4069864"/>
              <a:gd name="connsiteX7" fmla="*/ 2697879 w 4746854"/>
              <a:gd name="connsiteY7" fmla="*/ 4069864 h 4069864"/>
              <a:gd name="connsiteX8" fmla="*/ 0 w 4746854"/>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6854" h="4069864">
                <a:moveTo>
                  <a:pt x="0" y="0"/>
                </a:moveTo>
                <a:lnTo>
                  <a:pt x="2711280" y="0"/>
                </a:lnTo>
                <a:lnTo>
                  <a:pt x="2950422" y="8672"/>
                </a:lnTo>
                <a:cubicBezTo>
                  <a:pt x="4088892" y="93774"/>
                  <a:pt x="4667729" y="766868"/>
                  <a:pt x="4739847" y="1811648"/>
                </a:cubicBezTo>
                <a:lnTo>
                  <a:pt x="4746854" y="2020011"/>
                </a:lnTo>
                <a:lnTo>
                  <a:pt x="4746854" y="2062057"/>
                </a:lnTo>
                <a:lnTo>
                  <a:pt x="4739847" y="2268340"/>
                </a:lnTo>
                <a:cubicBezTo>
                  <a:pt x="4662578" y="3377027"/>
                  <a:pt x="4003616" y="4069864"/>
                  <a:pt x="2697879" y="4069864"/>
                </a:cubicBezTo>
                <a:lnTo>
                  <a:pt x="0" y="4069864"/>
                </a:lnTo>
                <a:close/>
              </a:path>
            </a:pathLst>
          </a:custGeom>
          <a:solidFill>
            <a:schemeClr val="bg1"/>
          </a:solidFill>
        </p:spPr>
        <p:txBody>
          <a:bodyPr wrap="square">
            <a:noAutofit/>
          </a:bodyPr>
          <a:lstStyle>
            <a:lvl1pPr rtl="0">
              <a:defRPr sz="114">
                <a:solidFill>
                  <a:srgbClr val="E9E9EF"/>
                </a:solidFill>
              </a:defRPr>
            </a:lvl1pPr>
          </a:lstStyle>
          <a:p>
            <a:pPr lvl="0"/>
            <a:r>
              <a:rPr lang="en-US"/>
              <a:t> </a:t>
            </a:r>
          </a:p>
        </p:txBody>
      </p:sp>
      <p:sp>
        <p:nvSpPr>
          <p:cNvPr id="26" name="Textplatzhalter 25">
            <a:extLst>
              <a:ext uri="{FF2B5EF4-FFF2-40B4-BE49-F238E27FC236}">
                <a16:creationId xmlns:a16="http://schemas.microsoft.com/office/drawing/2014/main" id="{F24CDC40-582F-467E-8F30-08298D5D1E71}"/>
              </a:ext>
            </a:extLst>
          </p:cNvPr>
          <p:cNvSpPr>
            <a:spLocks noGrp="1"/>
          </p:cNvSpPr>
          <p:nvPr>
            <p:ph type="body" sz="quarter" idx="13" hasCustomPrompt="1"/>
          </p:nvPr>
        </p:nvSpPr>
        <p:spPr bwMode="gray">
          <a:xfrm>
            <a:off x="191" y="1128463"/>
            <a:ext cx="2861079" cy="4658668"/>
          </a:xfrm>
          <a:custGeom>
            <a:avLst/>
            <a:gdLst>
              <a:gd name="connsiteX0" fmla="*/ 0 w 2509032"/>
              <a:gd name="connsiteY0" fmla="*/ 0 h 4069864"/>
              <a:gd name="connsiteX1" fmla="*/ 473207 w 2509032"/>
              <a:gd name="connsiteY1" fmla="*/ 0 h 4069864"/>
              <a:gd name="connsiteX2" fmla="*/ 712392 w 2509032"/>
              <a:gd name="connsiteY2" fmla="*/ 8672 h 4069864"/>
              <a:gd name="connsiteX3" fmla="*/ 2502025 w 2509032"/>
              <a:gd name="connsiteY3" fmla="*/ 1811648 h 4069864"/>
              <a:gd name="connsiteX4" fmla="*/ 2509032 w 2509032"/>
              <a:gd name="connsiteY4" fmla="*/ 2020012 h 4069864"/>
              <a:gd name="connsiteX5" fmla="*/ 2509032 w 2509032"/>
              <a:gd name="connsiteY5" fmla="*/ 2054646 h 4069864"/>
              <a:gd name="connsiteX6" fmla="*/ 2501774 w 2509032"/>
              <a:gd name="connsiteY6" fmla="*/ 2268340 h 4069864"/>
              <a:gd name="connsiteX7" fmla="*/ 459804 w 2509032"/>
              <a:gd name="connsiteY7" fmla="*/ 4069864 h 4069864"/>
              <a:gd name="connsiteX8" fmla="*/ 0 w 250903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032" h="4069864">
                <a:moveTo>
                  <a:pt x="0" y="0"/>
                </a:moveTo>
                <a:lnTo>
                  <a:pt x="473207" y="0"/>
                </a:lnTo>
                <a:lnTo>
                  <a:pt x="712392" y="8672"/>
                </a:lnTo>
                <a:cubicBezTo>
                  <a:pt x="1851058" y="93774"/>
                  <a:pt x="2429906" y="766868"/>
                  <a:pt x="2502025" y="1811648"/>
                </a:cubicBezTo>
                <a:lnTo>
                  <a:pt x="2509032" y="2020012"/>
                </a:lnTo>
                <a:lnTo>
                  <a:pt x="2509032" y="2054646"/>
                </a:lnTo>
                <a:lnTo>
                  <a:pt x="2501774" y="2268340"/>
                </a:lnTo>
                <a:cubicBezTo>
                  <a:pt x="2424504" y="3377027"/>
                  <a:pt x="1765542" y="4069864"/>
                  <a:pt x="459804" y="4069864"/>
                </a:cubicBezTo>
                <a:lnTo>
                  <a:pt x="0" y="4069864"/>
                </a:lnTo>
                <a:close/>
              </a:path>
            </a:pathLst>
          </a:custGeom>
          <a:solidFill>
            <a:srgbClr val="F0F0F2"/>
          </a:solidFill>
        </p:spPr>
        <p:txBody>
          <a:bodyPr wrap="square">
            <a:noAutofit/>
          </a:bodyPr>
          <a:lstStyle>
            <a:lvl1pPr rtl="0">
              <a:defRPr sz="114">
                <a:solidFill>
                  <a:srgbClr val="F0F0F2"/>
                </a:solidFill>
              </a:defRPr>
            </a:lvl1pPr>
          </a:lstStyle>
          <a:p>
            <a:pPr lvl="0"/>
            <a:r>
              <a:rPr lang="en-US"/>
              <a:t> </a:t>
            </a:r>
          </a:p>
        </p:txBody>
      </p:sp>
      <p:sp>
        <p:nvSpPr>
          <p:cNvPr id="31" name="Textplatzhalter 30">
            <a:extLst>
              <a:ext uri="{FF2B5EF4-FFF2-40B4-BE49-F238E27FC236}">
                <a16:creationId xmlns:a16="http://schemas.microsoft.com/office/drawing/2014/main" id="{2EEE94AD-24E6-48A3-A563-47EB5D3B4040}"/>
              </a:ext>
            </a:extLst>
          </p:cNvPr>
          <p:cNvSpPr>
            <a:spLocks noGrp="1"/>
          </p:cNvSpPr>
          <p:nvPr>
            <p:ph type="body" sz="quarter" idx="17" hasCustomPrompt="1"/>
          </p:nvPr>
        </p:nvSpPr>
        <p:spPr bwMode="gray">
          <a:xfrm>
            <a:off x="492386" y="2464082"/>
            <a:ext cx="1911619" cy="340560"/>
          </a:xfrm>
        </p:spPr>
        <p:txBody>
          <a:bodyPr>
            <a:noAutofit/>
          </a:bodyPr>
          <a:lstStyle>
            <a:lvl1pPr rtl="0">
              <a:defRPr sz="1824">
                <a:latin typeface="Poppins Medium" panose="00000600000000000000" pitchFamily="2" charset="0"/>
                <a:cs typeface="Poppins Medium" panose="00000600000000000000" pitchFamily="2" charset="0"/>
              </a:defRPr>
            </a:lvl1pPr>
          </a:lstStyle>
          <a:p>
            <a:pPr lvl="0"/>
            <a:r>
              <a:rPr lang="en-US"/>
              <a:t>1. Lorem ipsum</a:t>
            </a:r>
          </a:p>
        </p:txBody>
      </p:sp>
      <p:sp>
        <p:nvSpPr>
          <p:cNvPr id="33" name="Textplatzhalter 32">
            <a:extLst>
              <a:ext uri="{FF2B5EF4-FFF2-40B4-BE49-F238E27FC236}">
                <a16:creationId xmlns:a16="http://schemas.microsoft.com/office/drawing/2014/main" id="{641E9438-11FC-4A74-8FF8-A1B9A5B5EDDE}"/>
              </a:ext>
            </a:extLst>
          </p:cNvPr>
          <p:cNvSpPr>
            <a:spLocks noGrp="1"/>
          </p:cNvSpPr>
          <p:nvPr>
            <p:ph type="body" sz="quarter" idx="18" hasCustomPrompt="1"/>
          </p:nvPr>
        </p:nvSpPr>
        <p:spPr bwMode="gray">
          <a:xfrm>
            <a:off x="3220822" y="2464082"/>
            <a:ext cx="1912987" cy="340560"/>
          </a:xfrm>
        </p:spPr>
        <p:txBody>
          <a:bodyPr>
            <a:noAutofit/>
          </a:bodyPr>
          <a:lstStyle>
            <a:lvl1pPr rtl="0">
              <a:defRPr sz="1824">
                <a:latin typeface="Poppins Medium" panose="00000600000000000000" pitchFamily="2" charset="0"/>
                <a:cs typeface="Poppins Medium" panose="00000600000000000000" pitchFamily="2" charset="0"/>
              </a:defRPr>
            </a:lvl1pPr>
          </a:lstStyle>
          <a:p>
            <a:pPr lvl="0"/>
            <a:r>
              <a:rPr lang="en-US"/>
              <a:t>2. Lorem ipsum</a:t>
            </a:r>
          </a:p>
        </p:txBody>
      </p:sp>
      <p:sp>
        <p:nvSpPr>
          <p:cNvPr id="35" name="Textplatzhalter 34">
            <a:extLst>
              <a:ext uri="{FF2B5EF4-FFF2-40B4-BE49-F238E27FC236}">
                <a16:creationId xmlns:a16="http://schemas.microsoft.com/office/drawing/2014/main" id="{33FCC4FA-1D3F-4549-BAFC-C0B4EBCCE3AB}"/>
              </a:ext>
            </a:extLst>
          </p:cNvPr>
          <p:cNvSpPr>
            <a:spLocks noGrp="1"/>
          </p:cNvSpPr>
          <p:nvPr>
            <p:ph type="body" sz="quarter" idx="19" hasCustomPrompt="1"/>
          </p:nvPr>
        </p:nvSpPr>
        <p:spPr bwMode="gray">
          <a:xfrm>
            <a:off x="6157590" y="2464082"/>
            <a:ext cx="1912987" cy="340560"/>
          </a:xfrm>
        </p:spPr>
        <p:txBody>
          <a:bodyPr>
            <a:noAutofit/>
          </a:bodyPr>
          <a:lstStyle>
            <a:lvl1pPr rtl="0">
              <a:defRPr sz="1824">
                <a:latin typeface="Poppins Medium" panose="00000600000000000000" pitchFamily="2" charset="0"/>
                <a:cs typeface="Poppins Medium" panose="00000600000000000000" pitchFamily="2" charset="0"/>
              </a:defRPr>
            </a:lvl1pPr>
          </a:lstStyle>
          <a:p>
            <a:pPr lvl="0"/>
            <a:r>
              <a:rPr lang="en-US"/>
              <a:t>3. Lorem ipsum</a:t>
            </a:r>
          </a:p>
        </p:txBody>
      </p:sp>
      <p:sp>
        <p:nvSpPr>
          <p:cNvPr id="37" name="Textplatzhalter 36">
            <a:extLst>
              <a:ext uri="{FF2B5EF4-FFF2-40B4-BE49-F238E27FC236}">
                <a16:creationId xmlns:a16="http://schemas.microsoft.com/office/drawing/2014/main" id="{F7647E21-17D3-49A4-BDED-4605EC6DDACF}"/>
              </a:ext>
            </a:extLst>
          </p:cNvPr>
          <p:cNvSpPr>
            <a:spLocks noGrp="1"/>
          </p:cNvSpPr>
          <p:nvPr>
            <p:ph type="body" sz="quarter" idx="20" hasCustomPrompt="1"/>
          </p:nvPr>
        </p:nvSpPr>
        <p:spPr bwMode="gray">
          <a:xfrm>
            <a:off x="9107307" y="2464082"/>
            <a:ext cx="1912987" cy="340560"/>
          </a:xfrm>
        </p:spPr>
        <p:txBody>
          <a:bodyPr>
            <a:noAutofit/>
          </a:bodyPr>
          <a:lstStyle>
            <a:lvl1pPr rtl="0">
              <a:defRPr sz="1824">
                <a:solidFill>
                  <a:schemeClr val="bg2"/>
                </a:solidFill>
                <a:latin typeface="Poppins Medium" panose="00000600000000000000" pitchFamily="2" charset="0"/>
                <a:cs typeface="Poppins Medium" panose="00000600000000000000" pitchFamily="2" charset="0"/>
              </a:defRPr>
            </a:lvl1pPr>
          </a:lstStyle>
          <a:p>
            <a:pPr lvl="0"/>
            <a:r>
              <a:rPr lang="en-US"/>
              <a:t>4. Lorem ipsum</a:t>
            </a:r>
          </a:p>
        </p:txBody>
      </p:sp>
      <p:sp>
        <p:nvSpPr>
          <p:cNvPr id="39" name="Textplatzhalter 38">
            <a:extLst>
              <a:ext uri="{FF2B5EF4-FFF2-40B4-BE49-F238E27FC236}">
                <a16:creationId xmlns:a16="http://schemas.microsoft.com/office/drawing/2014/main" id="{784CE13C-4252-4C99-BDD7-3874FF04F8BB}"/>
              </a:ext>
            </a:extLst>
          </p:cNvPr>
          <p:cNvSpPr>
            <a:spLocks noGrp="1"/>
          </p:cNvSpPr>
          <p:nvPr>
            <p:ph type="body" sz="quarter" idx="21" hasCustomPrompt="1"/>
          </p:nvPr>
        </p:nvSpPr>
        <p:spPr bwMode="gray">
          <a:xfrm>
            <a:off x="491018" y="3031289"/>
            <a:ext cx="1912987" cy="1372027"/>
          </a:xfrm>
        </p:spPr>
        <p:txBody>
          <a:bodyPr/>
          <a:lstStyle>
            <a:lvl1pPr rtl="0">
              <a:defRPr/>
            </a:lvl1pPr>
            <a:lvl2pPr rtl="0">
              <a:spcBef>
                <a:spcPts val="684"/>
              </a:spcBef>
              <a:defRPr/>
            </a:lvl2pPr>
            <a:lvl3pPr rtl="0">
              <a:defRPr/>
            </a:lvl3pPr>
          </a:lstStyle>
          <a:p>
            <a:pPr lvl="0"/>
            <a:r>
              <a:rPr lang="en-US"/>
              <a:t>First level, Noto Sans Regular, 11pt</a:t>
            </a:r>
          </a:p>
          <a:p>
            <a:pPr lvl="1"/>
            <a:r>
              <a:rPr lang="en-US"/>
              <a:t>Second level, Noto Sans Regular, 11pt</a:t>
            </a:r>
          </a:p>
        </p:txBody>
      </p:sp>
      <p:sp>
        <p:nvSpPr>
          <p:cNvPr id="41" name="Textplatzhalter 40">
            <a:extLst>
              <a:ext uri="{FF2B5EF4-FFF2-40B4-BE49-F238E27FC236}">
                <a16:creationId xmlns:a16="http://schemas.microsoft.com/office/drawing/2014/main" id="{E590810B-20A4-4368-A28D-4319EDC0EF0E}"/>
              </a:ext>
            </a:extLst>
          </p:cNvPr>
          <p:cNvSpPr>
            <a:spLocks noGrp="1"/>
          </p:cNvSpPr>
          <p:nvPr>
            <p:ph type="body" sz="quarter" idx="22" hasCustomPrompt="1"/>
          </p:nvPr>
        </p:nvSpPr>
        <p:spPr bwMode="gray">
          <a:xfrm>
            <a:off x="3220822" y="3031287"/>
            <a:ext cx="1912987" cy="1372235"/>
          </a:xfrm>
        </p:spPr>
        <p:txBody>
          <a:bodyPr/>
          <a:lstStyle>
            <a:lvl1pPr rtl="0">
              <a:defRPr/>
            </a:lvl1pPr>
            <a:lvl2pPr rtl="0">
              <a:spcBef>
                <a:spcPts val="684"/>
              </a:spcBef>
              <a:defRPr/>
            </a:lvl2pPr>
            <a:lvl3pPr rtl="0">
              <a:defRPr/>
            </a:lvl3pPr>
          </a:lstStyle>
          <a:p>
            <a:pPr lvl="0"/>
            <a:r>
              <a:rPr lang="en-US"/>
              <a:t>First level, Noto Sans Regular, 11pt</a:t>
            </a:r>
          </a:p>
          <a:p>
            <a:pPr lvl="1"/>
            <a:r>
              <a:rPr lang="en-US"/>
              <a:t>Second level, Noto Sans Regular, 11pt</a:t>
            </a:r>
          </a:p>
        </p:txBody>
      </p:sp>
      <p:sp>
        <p:nvSpPr>
          <p:cNvPr id="43" name="Textplatzhalter 42">
            <a:extLst>
              <a:ext uri="{FF2B5EF4-FFF2-40B4-BE49-F238E27FC236}">
                <a16:creationId xmlns:a16="http://schemas.microsoft.com/office/drawing/2014/main" id="{E982175E-F3E1-4BE4-A0D4-64B00C9B9A95}"/>
              </a:ext>
            </a:extLst>
          </p:cNvPr>
          <p:cNvSpPr>
            <a:spLocks noGrp="1"/>
          </p:cNvSpPr>
          <p:nvPr>
            <p:ph type="body" sz="quarter" idx="23" hasCustomPrompt="1"/>
          </p:nvPr>
        </p:nvSpPr>
        <p:spPr bwMode="gray">
          <a:xfrm>
            <a:off x="6157590" y="3031289"/>
            <a:ext cx="1912987" cy="1372235"/>
          </a:xfrm>
        </p:spPr>
        <p:txBody>
          <a:bodyPr/>
          <a:lstStyle>
            <a:lvl1pPr rtl="0">
              <a:defRPr/>
            </a:lvl1pPr>
            <a:lvl2pPr rtl="0">
              <a:spcBef>
                <a:spcPts val="684"/>
              </a:spcBef>
              <a:defRPr/>
            </a:lvl2pPr>
            <a:lvl3pPr rtl="0">
              <a:defRPr/>
            </a:lvl3pPr>
          </a:lstStyle>
          <a:p>
            <a:pPr lvl="0"/>
            <a:r>
              <a:rPr lang="en-US"/>
              <a:t>First level, Noto Sans Regular, 11pt</a:t>
            </a:r>
          </a:p>
          <a:p>
            <a:pPr lvl="1"/>
            <a:r>
              <a:rPr lang="en-US"/>
              <a:t>Second level, Noto Sans Regular, 11pt</a:t>
            </a:r>
          </a:p>
        </p:txBody>
      </p:sp>
      <p:sp>
        <p:nvSpPr>
          <p:cNvPr id="45" name="Textplatzhalter 44">
            <a:extLst>
              <a:ext uri="{FF2B5EF4-FFF2-40B4-BE49-F238E27FC236}">
                <a16:creationId xmlns:a16="http://schemas.microsoft.com/office/drawing/2014/main" id="{0EB55448-137E-4C18-B62B-01486A06D6D6}"/>
              </a:ext>
            </a:extLst>
          </p:cNvPr>
          <p:cNvSpPr>
            <a:spLocks noGrp="1"/>
          </p:cNvSpPr>
          <p:nvPr>
            <p:ph type="body" sz="quarter" idx="24" hasCustomPrompt="1"/>
          </p:nvPr>
        </p:nvSpPr>
        <p:spPr bwMode="gray">
          <a:xfrm>
            <a:off x="9107307" y="3031289"/>
            <a:ext cx="1912987" cy="1372235"/>
          </a:xfrm>
        </p:spPr>
        <p:txBody>
          <a:bodyPr/>
          <a:lstStyle>
            <a:lvl1pPr rtl="0">
              <a:defRPr>
                <a:solidFill>
                  <a:schemeClr val="bg2"/>
                </a:solidFill>
              </a:defRPr>
            </a:lvl1pPr>
            <a:lvl2pPr marL="246305" indent="-246305" rtl="0">
              <a:spcBef>
                <a:spcPts val="684"/>
              </a:spcBef>
              <a:buFontTx/>
              <a:buBlip>
                <a:blip r:embed="rId5"/>
              </a:buBlip>
              <a:defRPr>
                <a:solidFill>
                  <a:schemeClr val="bg2"/>
                </a:solidFill>
              </a:defRPr>
            </a:lvl2pPr>
            <a:lvl3pPr marL="492610" indent="-246305" rtl="0">
              <a:buFontTx/>
              <a:buBlip>
                <a:blip r:embed="rId5"/>
              </a:buBlip>
              <a:defRPr>
                <a:solidFill>
                  <a:schemeClr val="bg1"/>
                </a:solidFill>
              </a:defRPr>
            </a:lvl3pPr>
          </a:lstStyle>
          <a:p>
            <a:pPr lvl="0"/>
            <a:r>
              <a:rPr lang="en-US"/>
              <a:t>First level, Noto Sans Regular, 11pt</a:t>
            </a:r>
          </a:p>
          <a:p>
            <a:pPr lvl="1"/>
            <a:r>
              <a:rPr lang="en-US"/>
              <a:t>Second level, Noto Sans Regular, 11pt</a:t>
            </a:r>
          </a:p>
        </p:txBody>
      </p:sp>
    </p:spTree>
    <p:extLst>
      <p:ext uri="{BB962C8B-B14F-4D97-AF65-F5344CB8AC3E}">
        <p14:creationId xmlns:p14="http://schemas.microsoft.com/office/powerpoint/2010/main" val="22667759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roject Team">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6F35796-47EC-4E8B-AB93-AADC51685273}"/>
              </a:ext>
            </a:extLst>
          </p:cNvPr>
          <p:cNvGraphicFramePr>
            <a:graphicFrameLocks noChangeAspect="1"/>
          </p:cNvGraphicFramePr>
          <p:nvPr>
            <p:custDataLst>
              <p:tags r:id="rId1"/>
            </p:custDataLst>
            <p:extLst>
              <p:ext uri="{D42A27DB-BD31-4B8C-83A1-F6EECF244321}">
                <p14:modId xmlns:p14="http://schemas.microsoft.com/office/powerpoint/2010/main" val="332489756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6F35796-47EC-4E8B-AB93-AADC5168527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92386" y="1666346"/>
            <a:ext cx="1293114" cy="1298060"/>
          </a:xfrm>
          <a:prstGeom prst="ellipse">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402180" y="1666346"/>
            <a:ext cx="1293114" cy="1298060"/>
          </a:xfrm>
          <a:prstGeom prst="ellipse">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4315624" y="1666346"/>
            <a:ext cx="1293114" cy="1298060"/>
          </a:xfrm>
          <a:prstGeom prst="ellipse">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6248965" y="1666346"/>
            <a:ext cx="1293114" cy="1298060"/>
          </a:xfrm>
          <a:prstGeom prst="ellipse">
            <a:avLst/>
          </a:prstGeom>
          <a:solidFill>
            <a:schemeClr val="bg1"/>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1AB22573-4B70-4148-B254-957B8275F1CD}"/>
              </a:ext>
            </a:extLst>
          </p:cNvPr>
          <p:cNvSpPr>
            <a:spLocks noGrp="1"/>
          </p:cNvSpPr>
          <p:nvPr>
            <p:ph type="pic" sz="quarter" idx="16" hasCustomPrompt="1"/>
          </p:nvPr>
        </p:nvSpPr>
        <p:spPr bwMode="gray">
          <a:xfrm>
            <a:off x="8160585" y="1666346"/>
            <a:ext cx="1293114" cy="1298060"/>
          </a:xfrm>
          <a:prstGeom prst="ellipse">
            <a:avLst/>
          </a:prstGeom>
          <a:solidFill>
            <a:schemeClr val="bg1"/>
          </a:solidFill>
        </p:spPr>
        <p:txBody>
          <a:bodyPr/>
          <a:lstStyle>
            <a:lvl1pPr rtl="0">
              <a:defRPr/>
            </a:lvl1pPr>
          </a:lstStyle>
          <a:p>
            <a:r>
              <a:rPr lang="en-US"/>
              <a:t> </a:t>
            </a:r>
          </a:p>
        </p:txBody>
      </p:sp>
      <p:sp>
        <p:nvSpPr>
          <p:cNvPr id="19" name="Picture Placeholder 18">
            <a:extLst>
              <a:ext uri="{FF2B5EF4-FFF2-40B4-BE49-F238E27FC236}">
                <a16:creationId xmlns:a16="http://schemas.microsoft.com/office/drawing/2014/main" id="{255EA54F-3E63-4C54-BDC6-F1B2575FC0D2}"/>
              </a:ext>
            </a:extLst>
          </p:cNvPr>
          <p:cNvSpPr>
            <a:spLocks noGrp="1"/>
          </p:cNvSpPr>
          <p:nvPr>
            <p:ph type="pic" sz="quarter" idx="17" hasCustomPrompt="1"/>
          </p:nvPr>
        </p:nvSpPr>
        <p:spPr bwMode="gray">
          <a:xfrm>
            <a:off x="10072202" y="1666346"/>
            <a:ext cx="1293114" cy="1298060"/>
          </a:xfrm>
          <a:prstGeom prst="ellipse">
            <a:avLst/>
          </a:prstGeom>
          <a:solidFill>
            <a:schemeClr val="bg1"/>
          </a:solidFill>
        </p:spPr>
        <p:txBody>
          <a:bodyPr/>
          <a:lstStyle>
            <a:lvl1pPr rtl="0">
              <a:defRPr/>
            </a:lvl1pPr>
          </a:lstStyle>
          <a:p>
            <a:r>
              <a:rPr lang="en-US"/>
              <a:t> </a:t>
            </a:r>
          </a:p>
        </p:txBody>
      </p:sp>
      <p:sp>
        <p:nvSpPr>
          <p:cNvPr id="21" name="Picture Placeholder 20">
            <a:extLst>
              <a:ext uri="{FF2B5EF4-FFF2-40B4-BE49-F238E27FC236}">
                <a16:creationId xmlns:a16="http://schemas.microsoft.com/office/drawing/2014/main" id="{25BF94A9-A968-456D-B381-13906B4BC9F7}"/>
              </a:ext>
            </a:extLst>
          </p:cNvPr>
          <p:cNvSpPr>
            <a:spLocks noGrp="1"/>
          </p:cNvSpPr>
          <p:nvPr>
            <p:ph type="pic" sz="quarter" idx="18" hasCustomPrompt="1"/>
          </p:nvPr>
        </p:nvSpPr>
        <p:spPr bwMode="gray">
          <a:xfrm>
            <a:off x="492386" y="3918992"/>
            <a:ext cx="1293114" cy="1298060"/>
          </a:xfrm>
          <a:prstGeom prst="ellipse">
            <a:avLst/>
          </a:prstGeom>
          <a:solidFill>
            <a:schemeClr val="bg1"/>
          </a:solidFill>
        </p:spPr>
        <p:txBody>
          <a:bodyPr/>
          <a:lstStyle>
            <a:lvl1pPr rtl="0">
              <a:defRPr/>
            </a:lvl1pPr>
          </a:lstStyle>
          <a:p>
            <a:r>
              <a:rPr lang="en-US"/>
              <a:t> </a:t>
            </a:r>
          </a:p>
        </p:txBody>
      </p:sp>
      <p:sp>
        <p:nvSpPr>
          <p:cNvPr id="23" name="Picture Placeholder 22">
            <a:extLst>
              <a:ext uri="{FF2B5EF4-FFF2-40B4-BE49-F238E27FC236}">
                <a16:creationId xmlns:a16="http://schemas.microsoft.com/office/drawing/2014/main" id="{85560FF0-9C7A-4EDB-99C5-56BB739FC23F}"/>
              </a:ext>
            </a:extLst>
          </p:cNvPr>
          <p:cNvSpPr>
            <a:spLocks noGrp="1"/>
          </p:cNvSpPr>
          <p:nvPr>
            <p:ph type="pic" sz="quarter" idx="19" hasCustomPrompt="1"/>
          </p:nvPr>
        </p:nvSpPr>
        <p:spPr bwMode="gray">
          <a:xfrm>
            <a:off x="2402180" y="3918992"/>
            <a:ext cx="1293114" cy="1298060"/>
          </a:xfrm>
          <a:prstGeom prst="ellipse">
            <a:avLst/>
          </a:prstGeom>
          <a:solidFill>
            <a:schemeClr val="bg1"/>
          </a:solidFill>
        </p:spPr>
        <p:txBody>
          <a:bodyPr/>
          <a:lstStyle>
            <a:lvl1pPr rtl="0">
              <a:defRPr/>
            </a:lvl1pPr>
          </a:lstStyle>
          <a:p>
            <a:r>
              <a:rPr lang="en-US"/>
              <a:t> </a:t>
            </a:r>
          </a:p>
        </p:txBody>
      </p:sp>
      <p:sp>
        <p:nvSpPr>
          <p:cNvPr id="25" name="Picture Placeholder 24">
            <a:extLst>
              <a:ext uri="{FF2B5EF4-FFF2-40B4-BE49-F238E27FC236}">
                <a16:creationId xmlns:a16="http://schemas.microsoft.com/office/drawing/2014/main" id="{BFE218E6-1C4D-44A8-9FC9-456D10A8512B}"/>
              </a:ext>
            </a:extLst>
          </p:cNvPr>
          <p:cNvSpPr>
            <a:spLocks noGrp="1"/>
          </p:cNvSpPr>
          <p:nvPr>
            <p:ph type="pic" sz="quarter" idx="20" hasCustomPrompt="1"/>
          </p:nvPr>
        </p:nvSpPr>
        <p:spPr bwMode="gray">
          <a:xfrm>
            <a:off x="4315624" y="3918992"/>
            <a:ext cx="1293114" cy="1298060"/>
          </a:xfrm>
          <a:prstGeom prst="ellipse">
            <a:avLst/>
          </a:prstGeom>
          <a:solidFill>
            <a:schemeClr val="bg1"/>
          </a:solidFill>
        </p:spPr>
        <p:txBody>
          <a:bodyPr/>
          <a:lstStyle>
            <a:lvl1pPr rtl="0">
              <a:defRPr/>
            </a:lvl1pPr>
          </a:lstStyle>
          <a:p>
            <a:r>
              <a:rPr lang="en-US"/>
              <a:t> </a:t>
            </a:r>
          </a:p>
        </p:txBody>
      </p:sp>
      <p:sp>
        <p:nvSpPr>
          <p:cNvPr id="27" name="Picture Placeholder 26">
            <a:extLst>
              <a:ext uri="{FF2B5EF4-FFF2-40B4-BE49-F238E27FC236}">
                <a16:creationId xmlns:a16="http://schemas.microsoft.com/office/drawing/2014/main" id="{03FBE6A1-CABF-4B20-8E3B-A69BB83FBB84}"/>
              </a:ext>
            </a:extLst>
          </p:cNvPr>
          <p:cNvSpPr>
            <a:spLocks noGrp="1"/>
          </p:cNvSpPr>
          <p:nvPr>
            <p:ph type="pic" sz="quarter" idx="21" hasCustomPrompt="1"/>
          </p:nvPr>
        </p:nvSpPr>
        <p:spPr bwMode="gray">
          <a:xfrm>
            <a:off x="6248965" y="3918992"/>
            <a:ext cx="1293114" cy="1298060"/>
          </a:xfrm>
          <a:prstGeom prst="ellipse">
            <a:avLst/>
          </a:prstGeom>
          <a:solidFill>
            <a:schemeClr val="bg1"/>
          </a:solidFill>
        </p:spPr>
        <p:txBody>
          <a:bodyPr/>
          <a:lstStyle>
            <a:lvl1pPr rtl="0">
              <a:defRPr/>
            </a:lvl1pPr>
          </a:lstStyle>
          <a:p>
            <a:r>
              <a:rPr lang="en-US"/>
              <a:t> </a:t>
            </a:r>
          </a:p>
        </p:txBody>
      </p:sp>
      <p:sp>
        <p:nvSpPr>
          <p:cNvPr id="29" name="Picture Placeholder 28">
            <a:extLst>
              <a:ext uri="{FF2B5EF4-FFF2-40B4-BE49-F238E27FC236}">
                <a16:creationId xmlns:a16="http://schemas.microsoft.com/office/drawing/2014/main" id="{630DCDA8-836E-4A76-B02F-F4FDB366B028}"/>
              </a:ext>
            </a:extLst>
          </p:cNvPr>
          <p:cNvSpPr>
            <a:spLocks noGrp="1"/>
          </p:cNvSpPr>
          <p:nvPr>
            <p:ph type="pic" sz="quarter" idx="22" hasCustomPrompt="1"/>
          </p:nvPr>
        </p:nvSpPr>
        <p:spPr bwMode="gray">
          <a:xfrm>
            <a:off x="8160585" y="3918992"/>
            <a:ext cx="1293114" cy="1298060"/>
          </a:xfrm>
          <a:prstGeom prst="ellipse">
            <a:avLst/>
          </a:prstGeom>
          <a:solidFill>
            <a:schemeClr val="bg1"/>
          </a:solidFill>
        </p:spPr>
        <p:txBody>
          <a:bodyPr/>
          <a:lstStyle>
            <a:lvl1pPr rtl="0">
              <a:defRPr/>
            </a:lvl1pPr>
          </a:lstStyle>
          <a:p>
            <a:r>
              <a:rPr lang="en-US"/>
              <a:t> </a:t>
            </a:r>
          </a:p>
        </p:txBody>
      </p:sp>
      <p:sp>
        <p:nvSpPr>
          <p:cNvPr id="31" name="Picture Placeholder 30">
            <a:extLst>
              <a:ext uri="{FF2B5EF4-FFF2-40B4-BE49-F238E27FC236}">
                <a16:creationId xmlns:a16="http://schemas.microsoft.com/office/drawing/2014/main" id="{BA99AF3F-20D5-4766-9C63-C9FA2D781C51}"/>
              </a:ext>
            </a:extLst>
          </p:cNvPr>
          <p:cNvSpPr>
            <a:spLocks noGrp="1"/>
          </p:cNvSpPr>
          <p:nvPr>
            <p:ph type="pic" sz="quarter" idx="23" hasCustomPrompt="1"/>
          </p:nvPr>
        </p:nvSpPr>
        <p:spPr bwMode="gray">
          <a:xfrm>
            <a:off x="10072202" y="3918992"/>
            <a:ext cx="1293114" cy="1298060"/>
          </a:xfrm>
          <a:prstGeom prst="ellipse">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92387"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402181"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4315624"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6248966"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1" name="Text Placeholder 40">
            <a:extLst>
              <a:ext uri="{FF2B5EF4-FFF2-40B4-BE49-F238E27FC236}">
                <a16:creationId xmlns:a16="http://schemas.microsoft.com/office/drawing/2014/main" id="{5698112C-B4DF-4453-9055-D32E04731F27}"/>
              </a:ext>
            </a:extLst>
          </p:cNvPr>
          <p:cNvSpPr>
            <a:spLocks noGrp="1"/>
          </p:cNvSpPr>
          <p:nvPr>
            <p:ph type="body" sz="quarter" idx="28" hasCustomPrompt="1"/>
          </p:nvPr>
        </p:nvSpPr>
        <p:spPr bwMode="gray">
          <a:xfrm>
            <a:off x="8160585"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3" name="Text Placeholder 42">
            <a:extLst>
              <a:ext uri="{FF2B5EF4-FFF2-40B4-BE49-F238E27FC236}">
                <a16:creationId xmlns:a16="http://schemas.microsoft.com/office/drawing/2014/main" id="{38351D23-3D63-491B-8857-2F724767C255}"/>
              </a:ext>
            </a:extLst>
          </p:cNvPr>
          <p:cNvSpPr>
            <a:spLocks noGrp="1"/>
          </p:cNvSpPr>
          <p:nvPr>
            <p:ph type="body" sz="quarter" idx="29" hasCustomPrompt="1"/>
          </p:nvPr>
        </p:nvSpPr>
        <p:spPr bwMode="gray">
          <a:xfrm>
            <a:off x="10072203" y="3129239"/>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5" name="Text Placeholder 44">
            <a:extLst>
              <a:ext uri="{FF2B5EF4-FFF2-40B4-BE49-F238E27FC236}">
                <a16:creationId xmlns:a16="http://schemas.microsoft.com/office/drawing/2014/main" id="{2675083F-C70D-457F-AFE5-17AD2E1B6BA2}"/>
              </a:ext>
            </a:extLst>
          </p:cNvPr>
          <p:cNvSpPr>
            <a:spLocks noGrp="1"/>
          </p:cNvSpPr>
          <p:nvPr>
            <p:ph type="body" sz="quarter" idx="30" hasCustomPrompt="1"/>
          </p:nvPr>
        </p:nvSpPr>
        <p:spPr bwMode="gray">
          <a:xfrm>
            <a:off x="492387"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7" name="Text Placeholder 46">
            <a:extLst>
              <a:ext uri="{FF2B5EF4-FFF2-40B4-BE49-F238E27FC236}">
                <a16:creationId xmlns:a16="http://schemas.microsoft.com/office/drawing/2014/main" id="{5B328946-09F9-4336-90CE-21550A94B5F1}"/>
              </a:ext>
            </a:extLst>
          </p:cNvPr>
          <p:cNvSpPr>
            <a:spLocks noGrp="1"/>
          </p:cNvSpPr>
          <p:nvPr>
            <p:ph type="body" sz="quarter" idx="31" hasCustomPrompt="1"/>
          </p:nvPr>
        </p:nvSpPr>
        <p:spPr bwMode="gray">
          <a:xfrm>
            <a:off x="2402181"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49" name="Text Placeholder 48">
            <a:extLst>
              <a:ext uri="{FF2B5EF4-FFF2-40B4-BE49-F238E27FC236}">
                <a16:creationId xmlns:a16="http://schemas.microsoft.com/office/drawing/2014/main" id="{C48AAE3A-3DE9-43FC-B1BE-F529D0E16E60}"/>
              </a:ext>
            </a:extLst>
          </p:cNvPr>
          <p:cNvSpPr>
            <a:spLocks noGrp="1"/>
          </p:cNvSpPr>
          <p:nvPr>
            <p:ph type="body" sz="quarter" idx="32" hasCustomPrompt="1"/>
          </p:nvPr>
        </p:nvSpPr>
        <p:spPr bwMode="gray">
          <a:xfrm>
            <a:off x="4315624"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51" name="Text Placeholder 50">
            <a:extLst>
              <a:ext uri="{FF2B5EF4-FFF2-40B4-BE49-F238E27FC236}">
                <a16:creationId xmlns:a16="http://schemas.microsoft.com/office/drawing/2014/main" id="{D0AFD85D-1D42-4716-8250-03DF14EB5C64}"/>
              </a:ext>
            </a:extLst>
          </p:cNvPr>
          <p:cNvSpPr>
            <a:spLocks noGrp="1"/>
          </p:cNvSpPr>
          <p:nvPr>
            <p:ph type="body" sz="quarter" idx="33" hasCustomPrompt="1"/>
          </p:nvPr>
        </p:nvSpPr>
        <p:spPr bwMode="gray">
          <a:xfrm>
            <a:off x="6248966"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53" name="Text Placeholder 52">
            <a:extLst>
              <a:ext uri="{FF2B5EF4-FFF2-40B4-BE49-F238E27FC236}">
                <a16:creationId xmlns:a16="http://schemas.microsoft.com/office/drawing/2014/main" id="{714A942C-5853-4E46-9236-C9478A282F9D}"/>
              </a:ext>
            </a:extLst>
          </p:cNvPr>
          <p:cNvSpPr>
            <a:spLocks noGrp="1"/>
          </p:cNvSpPr>
          <p:nvPr>
            <p:ph type="body" sz="quarter" idx="34" hasCustomPrompt="1"/>
          </p:nvPr>
        </p:nvSpPr>
        <p:spPr bwMode="gray">
          <a:xfrm>
            <a:off x="8160585"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
        <p:nvSpPr>
          <p:cNvPr id="55" name="Text Placeholder 54">
            <a:extLst>
              <a:ext uri="{FF2B5EF4-FFF2-40B4-BE49-F238E27FC236}">
                <a16:creationId xmlns:a16="http://schemas.microsoft.com/office/drawing/2014/main" id="{2A57B83C-8ADF-4978-B760-96F6DC4BADDD}"/>
              </a:ext>
            </a:extLst>
          </p:cNvPr>
          <p:cNvSpPr>
            <a:spLocks noGrp="1"/>
          </p:cNvSpPr>
          <p:nvPr>
            <p:ph type="body" sz="quarter" idx="35" hasCustomPrompt="1"/>
          </p:nvPr>
        </p:nvSpPr>
        <p:spPr bwMode="gray">
          <a:xfrm>
            <a:off x="10072173" y="5375605"/>
            <a:ext cx="1625628" cy="412083"/>
          </a:xfrm>
        </p:spPr>
        <p:txBody>
          <a:bodyPr/>
          <a:lstStyle>
            <a:lvl1pPr rtl="0">
              <a:lnSpc>
                <a:spcPct val="100000"/>
              </a:lnSpc>
              <a:spcBef>
                <a:spcPts val="0"/>
              </a:spcBef>
              <a:defRPr sz="912" b="1"/>
            </a:lvl1pPr>
            <a:lvl2pPr marL="0" indent="0" rtl="0">
              <a:lnSpc>
                <a:spcPct val="100000"/>
              </a:lnSpc>
              <a:spcBef>
                <a:spcPts val="0"/>
              </a:spcBef>
              <a:buFont typeface="Arial" panose="020B0604020202020204" pitchFamily="34" charset="0"/>
              <a:buNone/>
              <a:defRPr sz="912"/>
            </a:lvl2pPr>
          </a:lstStyle>
          <a:p>
            <a:pPr lvl="0"/>
            <a:r>
              <a:rPr lang="en-US"/>
              <a:t>Name Surname</a:t>
            </a:r>
          </a:p>
          <a:p>
            <a:pPr lvl="1"/>
            <a:r>
              <a:rPr lang="en-US"/>
              <a:t>Job title</a:t>
            </a:r>
          </a:p>
        </p:txBody>
      </p:sp>
    </p:spTree>
    <p:extLst>
      <p:ext uri="{BB962C8B-B14F-4D97-AF65-F5344CB8AC3E}">
        <p14:creationId xmlns:p14="http://schemas.microsoft.com/office/powerpoint/2010/main" val="13581967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Project team detail wh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95E38DB-91B2-40CE-9051-3A618A2981BC}"/>
              </a:ext>
            </a:extLst>
          </p:cNvPr>
          <p:cNvGraphicFramePr>
            <a:graphicFrameLocks noChangeAspect="1"/>
          </p:cNvGraphicFramePr>
          <p:nvPr>
            <p:custDataLst>
              <p:tags r:id="rId1"/>
            </p:custDataLst>
            <p:extLst>
              <p:ext uri="{D42A27DB-BD31-4B8C-83A1-F6EECF244321}">
                <p14:modId xmlns:p14="http://schemas.microsoft.com/office/powerpoint/2010/main" val="60653070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95E38DB-91B2-40CE-9051-3A618A2981B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92387" y="496088"/>
            <a:ext cx="11205416"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endParaRPr lang="nl-NL"/>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92387" y="1666345"/>
            <a:ext cx="2257817" cy="2266455"/>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3358959" y="1666345"/>
            <a:ext cx="2257817" cy="2266455"/>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6248966" y="1666345"/>
            <a:ext cx="2257817" cy="2266455"/>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9105088" y="1666345"/>
            <a:ext cx="2257817" cy="2266455"/>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92386"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3358959"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6248965"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9105088" y="4354901"/>
            <a:ext cx="2582264" cy="1432786"/>
          </a:xfrm>
        </p:spPr>
        <p:txBody>
          <a:bodyPr/>
          <a:lstStyle>
            <a:lvl1pPr rtl="0">
              <a:lnSpc>
                <a:spcPct val="130000"/>
              </a:lnSpc>
              <a:spcBef>
                <a:spcPts val="0"/>
              </a:spcBef>
              <a:defRPr sz="1254" b="1"/>
            </a:lvl1pPr>
            <a:lvl2pPr marL="0" indent="0" rtl="0">
              <a:lnSpc>
                <a:spcPct val="130000"/>
              </a:lnSpc>
              <a:spcBef>
                <a:spcPts val="0"/>
              </a:spcBef>
              <a:buFont typeface="Arial" panose="020B0604020202020204" pitchFamily="34" charset="0"/>
              <a:buNone/>
              <a:defRPr sz="1254"/>
            </a:lvl2pPr>
          </a:lstStyle>
          <a:p>
            <a:pPr lvl="0"/>
            <a:r>
              <a:rPr lang="en-US"/>
              <a:t>Name Surname</a:t>
            </a:r>
          </a:p>
          <a:p>
            <a:pPr lvl="1"/>
            <a:r>
              <a:rPr lang="en-US"/>
              <a:t>Job title</a:t>
            </a:r>
            <a:br>
              <a:rPr lang="en-US"/>
            </a:br>
            <a:r>
              <a:rPr lang="en-US"/>
              <a:t>E-mail address</a:t>
            </a:r>
            <a:br>
              <a:rPr lang="en-US"/>
            </a:br>
            <a:r>
              <a:rPr lang="en-US"/>
              <a:t>Telephone number</a:t>
            </a:r>
          </a:p>
        </p:txBody>
      </p:sp>
    </p:spTree>
    <p:extLst>
      <p:ext uri="{BB962C8B-B14F-4D97-AF65-F5344CB8AC3E}">
        <p14:creationId xmlns:p14="http://schemas.microsoft.com/office/powerpoint/2010/main" val="6146161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roject team detail midnight blu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1CCF50-6F56-4FBE-B1E9-F2F406DC848C}"/>
              </a:ext>
            </a:extLst>
          </p:cNvPr>
          <p:cNvGraphicFramePr>
            <a:graphicFrameLocks noChangeAspect="1"/>
          </p:cNvGraphicFramePr>
          <p:nvPr>
            <p:custDataLst>
              <p:tags r:id="rId1"/>
            </p:custDataLst>
            <p:extLst>
              <p:ext uri="{D42A27DB-BD31-4B8C-83A1-F6EECF244321}">
                <p14:modId xmlns:p14="http://schemas.microsoft.com/office/powerpoint/2010/main" val="77033034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0C1CCF50-6F56-4FBE-B1E9-F2F406DC848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6102B61-3FD9-4595-B1A4-5201FB3E3F62}"/>
              </a:ext>
            </a:extLst>
          </p:cNvPr>
          <p:cNvSpPr/>
          <p:nvPr/>
        </p:nvSpPr>
        <p:spPr bwMode="gray">
          <a:xfrm>
            <a:off x="-1" y="-1"/>
            <a:ext cx="1219200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solidFill>
                  <a:schemeClr val="bg2"/>
                </a:solidFill>
              </a:defRPr>
            </a:lvl1pPr>
          </a:lstStyle>
          <a:p>
            <a:endParaRPr lang="nl-NL"/>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92387" y="1666345"/>
            <a:ext cx="2257817" cy="2266455"/>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3358959" y="1666345"/>
            <a:ext cx="2257817" cy="2266455"/>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6248966" y="1666345"/>
            <a:ext cx="2257817" cy="2266455"/>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9105088" y="1666345"/>
            <a:ext cx="2257817" cy="2266455"/>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92386"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3358959"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6248965"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9105088" y="4354901"/>
            <a:ext cx="2582264" cy="1432786"/>
          </a:xfrm>
        </p:spPr>
        <p:txBody>
          <a:bodyPr/>
          <a:lstStyle>
            <a:lvl1pPr rtl="0">
              <a:lnSpc>
                <a:spcPct val="130000"/>
              </a:lnSpc>
              <a:spcBef>
                <a:spcPts val="0"/>
              </a:spcBef>
              <a:defRPr sz="1254" b="1">
                <a:solidFill>
                  <a:schemeClr val="bg2"/>
                </a:solidFill>
              </a:defRPr>
            </a:lvl1pPr>
            <a:lvl2pPr marL="0" indent="0" rtl="0">
              <a:lnSpc>
                <a:spcPct val="130000"/>
              </a:lnSpc>
              <a:spcBef>
                <a:spcPts val="0"/>
              </a:spcBef>
              <a:buFont typeface="Arial" panose="020B0604020202020204" pitchFamily="34" charset="0"/>
              <a:buNone/>
              <a:defRPr sz="1254">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pic>
        <p:nvPicPr>
          <p:cNvPr id="6" name="Picture 2" descr="Unite_Mercateo_logo landscape_white_RGB@5x">
            <a:extLst>
              <a:ext uri="{FF2B5EF4-FFF2-40B4-BE49-F238E27FC236}">
                <a16:creationId xmlns:a16="http://schemas.microsoft.com/office/drawing/2014/main" id="{37794385-34B3-BF66-E0A5-BCA67EB0AA4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16091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act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0AF9130-FD7A-420B-9E47-D7D697F50DC5}"/>
              </a:ext>
            </a:extLst>
          </p:cNvPr>
          <p:cNvGraphicFramePr>
            <a:graphicFrameLocks noChangeAspect="1"/>
          </p:cNvGraphicFramePr>
          <p:nvPr>
            <p:custDataLst>
              <p:tags r:id="rId1"/>
            </p:custDataLst>
            <p:extLst>
              <p:ext uri="{D42A27DB-BD31-4B8C-83A1-F6EECF244321}">
                <p14:modId xmlns:p14="http://schemas.microsoft.com/office/powerpoint/2010/main" val="21101398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0AF9130-FD7A-420B-9E47-D7D697F50DC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FDA90629-8464-4D7B-BB84-4E025F2850E7}"/>
              </a:ext>
            </a:extLst>
          </p:cNvPr>
          <p:cNvSpPr>
            <a:spLocks noGrp="1"/>
          </p:cNvSpPr>
          <p:nvPr>
            <p:ph type="pic" sz="quarter" idx="16" hasCustomPrompt="1"/>
          </p:nvPr>
        </p:nvSpPr>
        <p:spPr bwMode="gray">
          <a:xfrm>
            <a:off x="6095095" y="1"/>
            <a:ext cx="6102335" cy="6858000"/>
          </a:xfrm>
          <a:solidFill>
            <a:schemeClr val="bg1"/>
          </a:solidFill>
        </p:spPr>
        <p:txBody>
          <a:bodyPr/>
          <a:lstStyle>
            <a:lvl1pPr rtl="0">
              <a:defRPr/>
            </a:lvl1pPr>
          </a:lstStyle>
          <a:p>
            <a:r>
              <a:rPr lang="en-US"/>
              <a:t> </a:t>
            </a:r>
          </a:p>
        </p:txBody>
      </p:sp>
      <p:sp>
        <p:nvSpPr>
          <p:cNvPr id="14" name="Rectangle 13">
            <a:extLst>
              <a:ext uri="{FF2B5EF4-FFF2-40B4-BE49-F238E27FC236}">
                <a16:creationId xmlns:a16="http://schemas.microsoft.com/office/drawing/2014/main" id="{3C3527BF-52D3-47EA-BFEE-7216A7E836EC}"/>
              </a:ext>
            </a:extLst>
          </p:cNvPr>
          <p:cNvSpPr/>
          <p:nvPr/>
        </p:nvSpPr>
        <p:spPr bwMode="gray">
          <a:xfrm>
            <a:off x="0" y="-1"/>
            <a:ext cx="6095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92387" y="496088"/>
            <a:ext cx="4493028" cy="628128"/>
          </a:xfrm>
        </p:spPr>
        <p:txBody>
          <a:bodyPr vert="horz"/>
          <a:lstStyle>
            <a:lvl1pPr rtl="0">
              <a:defRPr>
                <a:solidFill>
                  <a:schemeClr val="bg2"/>
                </a:solidFill>
              </a:defRPr>
            </a:lvl1pPr>
          </a:lstStyle>
          <a:p>
            <a:r>
              <a:rPr lang="en-US"/>
              <a:t>Contact</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endParaRPr lang="nl-NL"/>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92387" y="1666346"/>
            <a:ext cx="4493028" cy="1386500"/>
          </a:xfrm>
        </p:spPr>
        <p:txBody>
          <a:bodyPr/>
          <a:lstStyle>
            <a:lvl1pPr rtl="0">
              <a:lnSpc>
                <a:spcPct val="110000"/>
              </a:lnSpc>
              <a:spcBef>
                <a:spcPts val="0"/>
              </a:spcBef>
              <a:defRPr sz="4105">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92387" y="3096457"/>
            <a:ext cx="4493028" cy="986304"/>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92386" y="4354901"/>
            <a:ext cx="4493028" cy="1432786"/>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pic>
        <p:nvPicPr>
          <p:cNvPr id="8" name="Picture 2" descr="Unite_Mercateo_logo landscape_white_RGB@5x">
            <a:extLst>
              <a:ext uri="{FF2B5EF4-FFF2-40B4-BE49-F238E27FC236}">
                <a16:creationId xmlns:a16="http://schemas.microsoft.com/office/drawing/2014/main" id="{19011684-001A-1510-2D30-D94AD9713DD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8575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break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6A9F543-BB69-4A63-B785-B5FD956F3CF2}"/>
              </a:ext>
            </a:extLst>
          </p:cNvPr>
          <p:cNvGraphicFramePr>
            <a:graphicFrameLocks noChangeAspect="1"/>
          </p:cNvGraphicFramePr>
          <p:nvPr>
            <p:custDataLst>
              <p:tags r:id="rId1"/>
            </p:custDataLst>
            <p:extLst>
              <p:ext uri="{D42A27DB-BD31-4B8C-83A1-F6EECF244321}">
                <p14:modId xmlns:p14="http://schemas.microsoft.com/office/powerpoint/2010/main" val="2308712126"/>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F6A9F543-BB69-4A63-B785-B5FD956F3CF2}"/>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p:cNvSpPr>
            <a:spLocks noGrp="1"/>
          </p:cNvSpPr>
          <p:nvPr>
            <p:ph type="title" hasCustomPrompt="1"/>
          </p:nvPr>
        </p:nvSpPr>
        <p:spPr bwMode="gray">
          <a:xfrm>
            <a:off x="492389" y="1666346"/>
            <a:ext cx="5112129" cy="717368"/>
          </a:xfrm>
        </p:spPr>
        <p:txBody>
          <a:bodyPr vert="horz" tIns="72000" anchor="t">
            <a:noAutofit/>
          </a:bodyPr>
          <a:lstStyle>
            <a:lvl1pPr rtl="0">
              <a:lnSpc>
                <a:spcPct val="100000"/>
              </a:lnSpc>
              <a:defRPr sz="4105">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92388" y="2705730"/>
            <a:ext cx="5112129" cy="1268294"/>
          </a:xfrm>
        </p:spPr>
        <p:txBody>
          <a:bodyPr>
            <a:noAutofit/>
          </a:bodyPr>
          <a:lstStyle>
            <a:lvl1pPr marL="0" indent="0" rtl="0">
              <a:lnSpc>
                <a:spcPct val="100000"/>
              </a:lnSpc>
              <a:spcBef>
                <a:spcPts val="0"/>
              </a:spcBef>
              <a:buNone/>
              <a:defRPr sz="2737">
                <a:solidFill>
                  <a:schemeClr val="bg2"/>
                </a:solidFill>
                <a:latin typeface="Poppins Light" panose="00000400000000000000" pitchFamily="2" charset="0"/>
                <a:cs typeface="Poppins Light" panose="00000400000000000000" pitchFamily="2" charset="0"/>
              </a:defRPr>
            </a:lvl1pPr>
            <a:lvl2pPr marL="455447" indent="0">
              <a:buNone/>
              <a:defRPr sz="1992">
                <a:solidFill>
                  <a:schemeClr val="tx1">
                    <a:tint val="75000"/>
                  </a:schemeClr>
                </a:solidFill>
              </a:defRPr>
            </a:lvl2pPr>
            <a:lvl3pPr marL="910894" indent="0">
              <a:buNone/>
              <a:defRPr sz="1793">
                <a:solidFill>
                  <a:schemeClr val="tx1">
                    <a:tint val="75000"/>
                  </a:schemeClr>
                </a:solidFill>
              </a:defRPr>
            </a:lvl3pPr>
            <a:lvl4pPr marL="1366342" indent="0">
              <a:buNone/>
              <a:defRPr sz="1594">
                <a:solidFill>
                  <a:schemeClr val="tx1">
                    <a:tint val="75000"/>
                  </a:schemeClr>
                </a:solidFill>
              </a:defRPr>
            </a:lvl4pPr>
            <a:lvl5pPr marL="1821789" indent="0">
              <a:buNone/>
              <a:defRPr sz="1594">
                <a:solidFill>
                  <a:schemeClr val="tx1">
                    <a:tint val="75000"/>
                  </a:schemeClr>
                </a:solidFill>
              </a:defRPr>
            </a:lvl5pPr>
            <a:lvl6pPr marL="2277236" indent="0">
              <a:buNone/>
              <a:defRPr sz="1594">
                <a:solidFill>
                  <a:schemeClr val="tx1">
                    <a:tint val="75000"/>
                  </a:schemeClr>
                </a:solidFill>
              </a:defRPr>
            </a:lvl6pPr>
            <a:lvl7pPr marL="2732683" indent="0">
              <a:buNone/>
              <a:defRPr sz="1594">
                <a:solidFill>
                  <a:schemeClr val="tx1">
                    <a:tint val="75000"/>
                  </a:schemeClr>
                </a:solidFill>
              </a:defRPr>
            </a:lvl7pPr>
            <a:lvl8pPr marL="3188129" indent="0">
              <a:buNone/>
              <a:defRPr sz="1594">
                <a:solidFill>
                  <a:schemeClr val="tx1">
                    <a:tint val="75000"/>
                  </a:schemeClr>
                </a:solidFill>
              </a:defRPr>
            </a:lvl8pPr>
            <a:lvl9pPr marL="3643577" indent="0">
              <a:buNone/>
              <a:defRPr sz="1594">
                <a:solidFill>
                  <a:schemeClr val="tx1">
                    <a:tint val="75000"/>
                  </a:schemeClr>
                </a:solidFill>
              </a:defRPr>
            </a:lvl9pPr>
          </a:lstStyle>
          <a:p>
            <a:pPr lvl="0"/>
            <a:r>
              <a:rPr lang="en-US"/>
              <a:t>Subheading, </a:t>
            </a:r>
            <a:br>
              <a:rPr lang="en-US"/>
            </a:br>
            <a:r>
              <a:rPr lang="en-US"/>
              <a:t>Poppins Light, 24</a:t>
            </a:r>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92387" y="496088"/>
            <a:ext cx="1623790" cy="298284"/>
          </a:xfrm>
        </p:spPr>
        <p:txBody>
          <a:bodyPr>
            <a:noAutofit/>
          </a:bodyPr>
          <a:lstStyle>
            <a:lvl1pPr rtl="0">
              <a:lnSpc>
                <a:spcPct val="110000"/>
              </a:lnSpc>
              <a:defRPr sz="1824">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sp>
        <p:nvSpPr>
          <p:cNvPr id="9" name="Picture Placeholder 8">
            <a:extLst>
              <a:ext uri="{FF2B5EF4-FFF2-40B4-BE49-F238E27FC236}">
                <a16:creationId xmlns:a16="http://schemas.microsoft.com/office/drawing/2014/main" id="{B1ECA945-EF01-49AA-9BBE-588B98296654}"/>
              </a:ext>
            </a:extLst>
          </p:cNvPr>
          <p:cNvSpPr>
            <a:spLocks noGrp="1"/>
          </p:cNvSpPr>
          <p:nvPr>
            <p:ph type="pic" sz="quarter" idx="14" hasCustomPrompt="1"/>
          </p:nvPr>
        </p:nvSpPr>
        <p:spPr bwMode="gray">
          <a:xfrm>
            <a:off x="6096000" y="0"/>
            <a:ext cx="6096001" cy="6858001"/>
          </a:xfrm>
          <a:solidFill>
            <a:schemeClr val="bg1"/>
          </a:solidFill>
        </p:spPr>
        <p:txBody>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B052C1DA-1795-4710-A2F6-220293EA01D5}" type="slidenum">
              <a:rPr lang="nl-NL" smtClean="0"/>
              <a:t>‹nr.›</a:t>
            </a:fld>
            <a:endParaRPr lang="nl-NL"/>
          </a:p>
        </p:txBody>
      </p:sp>
      <p:pic>
        <p:nvPicPr>
          <p:cNvPr id="4" name="Picture 2" descr="Unite_Mercateo_logo landscape_white_RGB@5x">
            <a:extLst>
              <a:ext uri="{FF2B5EF4-FFF2-40B4-BE49-F238E27FC236}">
                <a16:creationId xmlns:a16="http://schemas.microsoft.com/office/drawing/2014/main" id="{8264A968-F7E8-1297-D2CF-2D0370A4288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6358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act 2">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54E09DD-AA06-45A2-AD83-6234B0A08454}"/>
              </a:ext>
            </a:extLst>
          </p:cNvPr>
          <p:cNvGraphicFramePr>
            <a:graphicFrameLocks noChangeAspect="1"/>
          </p:cNvGraphicFramePr>
          <p:nvPr>
            <p:custDataLst>
              <p:tags r:id="rId1"/>
            </p:custDataLst>
            <p:extLst>
              <p:ext uri="{D42A27DB-BD31-4B8C-83A1-F6EECF244321}">
                <p14:modId xmlns:p14="http://schemas.microsoft.com/office/powerpoint/2010/main" val="9388896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54E09DD-AA06-45A2-AD83-6234B0A0845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857013" y="496089"/>
            <a:ext cx="5839930" cy="5865247"/>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7" y="496088"/>
            <a:ext cx="4493028"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B052C1DA-1795-4710-A2F6-220293EA01D5}" type="slidenum">
              <a:rPr lang="nl-NL" smtClean="0"/>
              <a:t>‹nr.›</a:t>
            </a:fld>
            <a:endParaRPr lang="nl-NL"/>
          </a:p>
        </p:txBody>
      </p:sp>
      <p:sp>
        <p:nvSpPr>
          <p:cNvPr id="5" name="Text Placeholder 4">
            <a:extLst>
              <a:ext uri="{FF2B5EF4-FFF2-40B4-BE49-F238E27FC236}">
                <a16:creationId xmlns:a16="http://schemas.microsoft.com/office/drawing/2014/main" id="{F256B424-98FB-4DC6-874A-A3FD870F9D27}"/>
              </a:ext>
            </a:extLst>
          </p:cNvPr>
          <p:cNvSpPr>
            <a:spLocks noGrp="1"/>
          </p:cNvSpPr>
          <p:nvPr>
            <p:ph type="body" sz="quarter" idx="16"/>
          </p:nvPr>
        </p:nvSpPr>
        <p:spPr bwMode="gray">
          <a:xfrm>
            <a:off x="492387" y="1666345"/>
            <a:ext cx="4493028" cy="4121342"/>
          </a:xfrm>
        </p:spPr>
        <p:txBody>
          <a:bodyPr/>
          <a:lstStyle>
            <a:lvl1pPr rtl="0">
              <a:defRPr b="1"/>
            </a:lvl1pPr>
            <a:lvl2pPr marL="0" indent="0" rtl="0">
              <a:buFont typeface="Arial" panose="020B0604020202020204" pitchFamily="34" charset="0"/>
              <a:buNone/>
              <a:defRPr/>
            </a:lvl2pPr>
          </a:lstStyle>
          <a:p>
            <a:pPr lvl="0"/>
            <a:r>
              <a:rPr lang="nl-NL"/>
              <a:t>Klikken om de tekststijl van het model te bewerken</a:t>
            </a:r>
          </a:p>
          <a:p>
            <a:pPr lvl="1"/>
            <a:r>
              <a:rPr lang="nl-NL"/>
              <a:t>Tweede niveau</a:t>
            </a:r>
          </a:p>
        </p:txBody>
      </p:sp>
    </p:spTree>
    <p:extLst>
      <p:ext uri="{BB962C8B-B14F-4D97-AF65-F5344CB8AC3E}">
        <p14:creationId xmlns:p14="http://schemas.microsoft.com/office/powerpoint/2010/main" val="1499002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act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E570FC6-DF80-4B9C-82D1-DA8F33D2CA04}"/>
              </a:ext>
            </a:extLst>
          </p:cNvPr>
          <p:cNvGraphicFramePr>
            <a:graphicFrameLocks noChangeAspect="1"/>
          </p:cNvGraphicFramePr>
          <p:nvPr>
            <p:custDataLst>
              <p:tags r:id="rId1"/>
            </p:custDataLst>
            <p:extLst>
              <p:ext uri="{D42A27DB-BD31-4B8C-83A1-F6EECF244321}">
                <p14:modId xmlns:p14="http://schemas.microsoft.com/office/powerpoint/2010/main" val="196668179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9E570FC6-DF80-4B9C-82D1-DA8F33D2CA0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C3527BF-52D3-47EA-BFEE-7216A7E836EC}"/>
              </a:ext>
            </a:extLst>
          </p:cNvPr>
          <p:cNvSpPr/>
          <p:nvPr/>
        </p:nvSpPr>
        <p:spPr bwMode="gray">
          <a:xfrm>
            <a:off x="-1" y="-1"/>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92388" y="496088"/>
            <a:ext cx="4493027" cy="628128"/>
          </a:xfrm>
        </p:spPr>
        <p:txBody>
          <a:bodyPr vert="horz"/>
          <a:lstStyle>
            <a:lvl1pPr rtl="0">
              <a:defRPr>
                <a:solidFill>
                  <a:schemeClr val="bg2"/>
                </a:solidFill>
              </a:defRPr>
            </a:lvl1pPr>
          </a:lstStyle>
          <a:p>
            <a:r>
              <a:rPr lang="en-US"/>
              <a:t>Contact</a:t>
            </a:r>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92387" y="1666346"/>
            <a:ext cx="4493028" cy="1386500"/>
          </a:xfrm>
        </p:spPr>
        <p:txBody>
          <a:bodyPr/>
          <a:lstStyle>
            <a:lvl1pPr rtl="0">
              <a:lnSpc>
                <a:spcPct val="110000"/>
              </a:lnSpc>
              <a:spcBef>
                <a:spcPts val="0"/>
              </a:spcBef>
              <a:defRPr sz="4105">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92387" y="3096457"/>
            <a:ext cx="4493028" cy="986304"/>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92386" y="4354901"/>
            <a:ext cx="4493028" cy="1432786"/>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20" name="Picture Placeholder 19">
            <a:extLst>
              <a:ext uri="{FF2B5EF4-FFF2-40B4-BE49-F238E27FC236}">
                <a16:creationId xmlns:a16="http://schemas.microsoft.com/office/drawing/2014/main" id="{9E03B23D-F03A-43EA-A248-420E2458F7B2}"/>
              </a:ext>
            </a:extLst>
          </p:cNvPr>
          <p:cNvSpPr>
            <a:spLocks noGrp="1"/>
          </p:cNvSpPr>
          <p:nvPr>
            <p:ph type="pic" sz="quarter" idx="16" hasCustomPrompt="1"/>
          </p:nvPr>
        </p:nvSpPr>
        <p:spPr bwMode="gray">
          <a:xfrm>
            <a:off x="5857013" y="496090"/>
            <a:ext cx="5839930" cy="5865247"/>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endParaRPr lang="nl-NL"/>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pic>
        <p:nvPicPr>
          <p:cNvPr id="8" name="Picture 2" descr="Unite_Mercateo_logo landscape_white_RGB@5x">
            <a:extLst>
              <a:ext uri="{FF2B5EF4-FFF2-40B4-BE49-F238E27FC236}">
                <a16:creationId xmlns:a16="http://schemas.microsoft.com/office/drawing/2014/main" id="{1FF24C60-A5BE-8314-60D4-7C4D342604B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47848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Last slide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C1924E-0FEA-4439-A585-CA2C49BC730A}"/>
              </a:ext>
            </a:extLst>
          </p:cNvPr>
          <p:cNvGraphicFramePr>
            <a:graphicFrameLocks noChangeAspect="1"/>
          </p:cNvGraphicFramePr>
          <p:nvPr>
            <p:custDataLst>
              <p:tags r:id="rId1"/>
            </p:custDataLst>
            <p:extLst>
              <p:ext uri="{D42A27DB-BD31-4B8C-83A1-F6EECF244321}">
                <p14:modId xmlns:p14="http://schemas.microsoft.com/office/powerpoint/2010/main" val="288755818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BFC1924E-0FEA-4439-A585-CA2C49BC730A}"/>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6248966" y="3267272"/>
            <a:ext cx="1625600" cy="664460"/>
          </a:xfrm>
        </p:spPr>
        <p:txBody>
          <a:bodyPr>
            <a:noAutofit/>
          </a:bodyPr>
          <a:lstStyle>
            <a:lvl1pPr rtl="0">
              <a:lnSpc>
                <a:spcPct val="120000"/>
              </a:lnSpc>
              <a:defRPr sz="912" b="1">
                <a:solidFill>
                  <a:schemeClr val="tx2"/>
                </a:solidFill>
              </a:defRPr>
            </a:lvl1pPr>
            <a:lvl2pPr marL="0" indent="0" rtl="0">
              <a:lnSpc>
                <a:spcPct val="120000"/>
              </a:lnSpc>
              <a:spcBef>
                <a:spcPts val="0"/>
              </a:spcBef>
              <a:buFont typeface="Arial" panose="020B0604020202020204" pitchFamily="34" charset="0"/>
              <a:buNone/>
              <a:defRPr sz="912">
                <a:solidFill>
                  <a:schemeClr val="tx2"/>
                </a:solidFill>
              </a:defRPr>
            </a:lvl2pPr>
            <a:lvl3pPr>
              <a:defRPr sz="912"/>
            </a:lvl3pPr>
            <a:lvl4pPr>
              <a:defRPr sz="912"/>
            </a:lvl4pPr>
            <a:lvl5pPr>
              <a:defRPr sz="912"/>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6248966" y="4132244"/>
            <a:ext cx="1625600" cy="664460"/>
          </a:xfrm>
        </p:spPr>
        <p:txBody>
          <a:bodyPr>
            <a:noAutofit/>
          </a:bodyPr>
          <a:lstStyle>
            <a:lvl1pPr rtl="0">
              <a:lnSpc>
                <a:spcPct val="120000"/>
              </a:lnSpc>
              <a:defRPr sz="912" b="1">
                <a:solidFill>
                  <a:schemeClr val="tx2"/>
                </a:solidFill>
              </a:defRPr>
            </a:lvl1pPr>
            <a:lvl2pPr marL="0" indent="0" rtl="0">
              <a:lnSpc>
                <a:spcPct val="120000"/>
              </a:lnSpc>
              <a:spcBef>
                <a:spcPts val="0"/>
              </a:spcBef>
              <a:buFont typeface="Arial" panose="020B0604020202020204" pitchFamily="34" charset="0"/>
              <a:buNone/>
              <a:defRPr sz="912">
                <a:solidFill>
                  <a:schemeClr val="tx2"/>
                </a:solidFill>
              </a:defRPr>
            </a:lvl2pPr>
            <a:lvl3pPr>
              <a:defRPr sz="912"/>
            </a:lvl3pPr>
            <a:lvl4pPr>
              <a:defRPr sz="912"/>
            </a:lvl4pPr>
            <a:lvl5pPr>
              <a:defRPr sz="912"/>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6248965" y="6225626"/>
            <a:ext cx="1911619" cy="136288"/>
          </a:xfrm>
        </p:spPr>
        <p:txBody>
          <a:bodyPr/>
          <a:lstStyle>
            <a:lvl1pPr rtl="0">
              <a:defRPr sz="912">
                <a:solidFill>
                  <a:schemeClr val="tx2"/>
                </a:solidFill>
              </a:defRPr>
            </a:lvl1pPr>
            <a:lvl2pPr>
              <a:defRPr sz="912"/>
            </a:lvl2pPr>
            <a:lvl3pPr>
              <a:defRPr sz="912"/>
            </a:lvl3pPr>
            <a:lvl4pPr>
              <a:defRPr sz="912"/>
            </a:lvl4pPr>
            <a:lvl5pPr>
              <a:defRPr sz="912"/>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9116394" y="3261820"/>
            <a:ext cx="2581409" cy="3114630"/>
          </a:xfrm>
        </p:spPr>
        <p:txBody>
          <a:bodyPr>
            <a:noAutofit/>
          </a:bodyPr>
          <a:lstStyle>
            <a:lvl1pPr rtl="0">
              <a:lnSpc>
                <a:spcPct val="120000"/>
              </a:lnSpc>
              <a:defRPr sz="912" b="1">
                <a:solidFill>
                  <a:schemeClr val="tx2"/>
                </a:solidFill>
              </a:defRPr>
            </a:lvl1pPr>
            <a:lvl2pPr marL="0" indent="0" rtl="0">
              <a:lnSpc>
                <a:spcPct val="120000"/>
              </a:lnSpc>
              <a:spcBef>
                <a:spcPts val="1368"/>
              </a:spcBef>
              <a:buFont typeface="Arial" panose="020B0604020202020204" pitchFamily="34" charset="0"/>
              <a:buNone/>
              <a:defRPr sz="912">
                <a:solidFill>
                  <a:schemeClr val="tx2"/>
                </a:solidFill>
              </a:defRPr>
            </a:lvl2pPr>
          </a:lstStyle>
          <a:p>
            <a:pPr lvl="0"/>
            <a:r>
              <a:rPr lang="en-US"/>
              <a:t>Unite.eu is Europe’s supplier-neutral </a:t>
            </a:r>
            <a:br>
              <a:rPr lang="en-US"/>
            </a:br>
            <a:r>
              <a:rPr lang="en-US"/>
              <a:t>B2B networking platform from </a:t>
            </a:r>
            <a:r>
              <a:rPr lang="en-US" err="1"/>
              <a:t>Mercateo</a:t>
            </a:r>
            <a:r>
              <a:rPr lang="en-US"/>
              <a:t>. </a:t>
            </a:r>
          </a:p>
          <a:p>
            <a:pPr lvl="1"/>
            <a:r>
              <a:rPr lang="en-US"/>
              <a:t>Purchasers, retailers, manufacturers and service providers use this infrastructure </a:t>
            </a:r>
            <a:br>
              <a:rPr lang="en-US"/>
            </a:br>
            <a:r>
              <a:rPr lang="en-US"/>
              <a:t>for cooperation and digital transactions, regardless of their previous degree of </a:t>
            </a:r>
            <a:r>
              <a:rPr lang="en-US" err="1"/>
              <a:t>digitisation</a:t>
            </a:r>
            <a:r>
              <a:rPr lang="en-US"/>
              <a:t>. With new digital collaboration models manufacturers and specialist retailers resolve channel conflicts within multi-stage B2B sales and thus meet the expectations of the customers with regard to modern purchasing processes and service. Besides the networking platform Unite.eu, which positions itself neutrally between suppliers and purchasers in the B2B field, </a:t>
            </a:r>
            <a:r>
              <a:rPr lang="en-US" err="1"/>
              <a:t>Mercateo</a:t>
            </a:r>
            <a:r>
              <a:rPr lang="en-US"/>
              <a:t> has </a:t>
            </a:r>
            <a:br>
              <a:rPr lang="en-US"/>
            </a:br>
            <a:r>
              <a:rPr lang="en-US"/>
              <a:t>been operating Europe’s largest B2B marketplace since 2000.</a:t>
            </a:r>
          </a:p>
        </p:txBody>
      </p:sp>
      <p:grpSp>
        <p:nvGrpSpPr>
          <p:cNvPr id="3" name="Gruppieren 2">
            <a:extLst>
              <a:ext uri="{FF2B5EF4-FFF2-40B4-BE49-F238E27FC236}">
                <a16:creationId xmlns:a16="http://schemas.microsoft.com/office/drawing/2014/main" id="{DDC5191F-FB7A-4C39-8717-4C1C19DD2CEB}"/>
              </a:ext>
            </a:extLst>
          </p:cNvPr>
          <p:cNvGrpSpPr/>
          <p:nvPr/>
        </p:nvGrpSpPr>
        <p:grpSpPr>
          <a:xfrm>
            <a:off x="492387" y="3275147"/>
            <a:ext cx="2581409" cy="628252"/>
            <a:chOff x="431800" y="2861205"/>
            <a:chExt cx="2263775" cy="548848"/>
          </a:xfrm>
        </p:grpSpPr>
        <p:sp>
          <p:nvSpPr>
            <p:cNvPr id="24" name="Graphic 12">
              <a:extLst>
                <a:ext uri="{FF2B5EF4-FFF2-40B4-BE49-F238E27FC236}">
                  <a16:creationId xmlns:a16="http://schemas.microsoft.com/office/drawing/2014/main" id="{C7F69AB8-F31E-4516-8520-C31FB68BCF69}"/>
                </a:ext>
              </a:extLst>
            </p:cNvPr>
            <p:cNvSpPr/>
            <p:nvPr/>
          </p:nvSpPr>
          <p:spPr bwMode="gray">
            <a:xfrm>
              <a:off x="431800" y="2897508"/>
              <a:ext cx="1474267" cy="475117"/>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solidFill>
              <a:schemeClr val="tx1"/>
            </a:solidFill>
            <a:ln w="9525" cap="flat">
              <a:noFill/>
              <a:prstDash val="solid"/>
              <a:miter/>
            </a:ln>
          </p:spPr>
          <p:txBody>
            <a:bodyPr rtlCol="0" anchor="ctr"/>
            <a:lstStyle/>
            <a:p>
              <a:pPr rtl="0"/>
              <a:endParaRPr lang="en-US" sz="2053"/>
            </a:p>
          </p:txBody>
        </p:sp>
        <p:sp>
          <p:nvSpPr>
            <p:cNvPr id="25" name="Graphic 12">
              <a:extLst>
                <a:ext uri="{FF2B5EF4-FFF2-40B4-BE49-F238E27FC236}">
                  <a16:creationId xmlns:a16="http://schemas.microsoft.com/office/drawing/2014/main" id="{D4BB5A2E-92BD-4080-B113-8AA1F462904C}"/>
                </a:ext>
              </a:extLst>
            </p:cNvPr>
            <p:cNvSpPr/>
            <p:nvPr/>
          </p:nvSpPr>
          <p:spPr bwMode="gray">
            <a:xfrm>
              <a:off x="2146727" y="2861205"/>
              <a:ext cx="548848" cy="548848"/>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adFill flip="none" rotWithShape="1">
              <a:gsLst>
                <a:gs pos="20000">
                  <a:schemeClr val="tx1"/>
                </a:gs>
                <a:gs pos="80000">
                  <a:schemeClr val="accent2"/>
                </a:gs>
              </a:gsLst>
              <a:lin ang="18600000" scaled="0"/>
              <a:tileRect/>
            </a:gradFill>
            <a:ln w="9525" cap="flat">
              <a:noFill/>
              <a:prstDash val="solid"/>
              <a:miter/>
            </a:ln>
          </p:spPr>
          <p:txBody>
            <a:bodyPr rtlCol="0" anchor="ctr"/>
            <a:lstStyle/>
            <a:p>
              <a:pPr lvl="0"/>
              <a:endParaRPr lang="en-US" sz="2053"/>
            </a:p>
          </p:txBody>
        </p:sp>
      </p:grpSp>
    </p:spTree>
    <p:extLst>
      <p:ext uri="{BB962C8B-B14F-4D97-AF65-F5344CB8AC3E}">
        <p14:creationId xmlns:p14="http://schemas.microsoft.com/office/powerpoint/2010/main" val="40939172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Last slide gradi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F01238-40E9-4AF3-8847-0BB474C12FF7}"/>
              </a:ext>
            </a:extLst>
          </p:cNvPr>
          <p:cNvGraphicFramePr>
            <a:graphicFrameLocks noChangeAspect="1"/>
          </p:cNvGraphicFramePr>
          <p:nvPr>
            <p:custDataLst>
              <p:tags r:id="rId1"/>
            </p:custDataLst>
            <p:extLst>
              <p:ext uri="{D42A27DB-BD31-4B8C-83A1-F6EECF244321}">
                <p14:modId xmlns:p14="http://schemas.microsoft.com/office/powerpoint/2010/main" val="188328817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ADF01238-40E9-4AF3-8847-0BB474C12FF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B8AF001-5F18-4323-A310-1CEF30EBA9A2}"/>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grpSp>
        <p:nvGrpSpPr>
          <p:cNvPr id="7" name="Group 6">
            <a:extLst>
              <a:ext uri="{FF2B5EF4-FFF2-40B4-BE49-F238E27FC236}">
                <a16:creationId xmlns:a16="http://schemas.microsoft.com/office/drawing/2014/main" id="{35E557C2-CA1E-42D5-A461-F55E5250DB20}"/>
              </a:ext>
            </a:extLst>
          </p:cNvPr>
          <p:cNvGrpSpPr/>
          <p:nvPr/>
        </p:nvGrpSpPr>
        <p:grpSpPr bwMode="gray">
          <a:xfrm>
            <a:off x="492387" y="3275148"/>
            <a:ext cx="2581409" cy="628251"/>
            <a:chOff x="438942" y="5320889"/>
            <a:chExt cx="1075533" cy="260761"/>
          </a:xfrm>
          <a:solidFill>
            <a:schemeClr val="bg2"/>
          </a:solidFill>
        </p:grpSpPr>
        <p:sp>
          <p:nvSpPr>
            <p:cNvPr id="8" name="Graphic 12">
              <a:extLst>
                <a:ext uri="{FF2B5EF4-FFF2-40B4-BE49-F238E27FC236}">
                  <a16:creationId xmlns:a16="http://schemas.microsoft.com/office/drawing/2014/main" id="{8B77BDFF-983E-4593-80C5-9B4D597358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053"/>
            </a:p>
          </p:txBody>
        </p:sp>
        <p:sp>
          <p:nvSpPr>
            <p:cNvPr id="9" name="Graphic 12">
              <a:extLst>
                <a:ext uri="{FF2B5EF4-FFF2-40B4-BE49-F238E27FC236}">
                  <a16:creationId xmlns:a16="http://schemas.microsoft.com/office/drawing/2014/main" id="{ECC4C823-851B-4F0B-9EB9-65D80A572B2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053"/>
            </a:p>
          </p:txBody>
        </p:sp>
      </p:grpSp>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6248966" y="3267272"/>
            <a:ext cx="1625600" cy="664460"/>
          </a:xfrm>
        </p:spPr>
        <p:txBody>
          <a:bodyPr>
            <a:noAutofit/>
          </a:bodyPr>
          <a:lstStyle>
            <a:lvl1pPr rtl="0">
              <a:lnSpc>
                <a:spcPct val="120000"/>
              </a:lnSpc>
              <a:defRPr sz="912" b="1">
                <a:solidFill>
                  <a:schemeClr val="bg2"/>
                </a:solidFill>
              </a:defRPr>
            </a:lvl1pPr>
            <a:lvl2pPr marL="0" indent="0" rtl="0">
              <a:lnSpc>
                <a:spcPct val="120000"/>
              </a:lnSpc>
              <a:spcBef>
                <a:spcPts val="0"/>
              </a:spcBef>
              <a:buFont typeface="Arial" panose="020B0604020202020204" pitchFamily="34" charset="0"/>
              <a:buNone/>
              <a:defRPr sz="912">
                <a:solidFill>
                  <a:schemeClr val="bg2"/>
                </a:solidFill>
              </a:defRPr>
            </a:lvl2pPr>
            <a:lvl3pPr>
              <a:defRPr sz="912"/>
            </a:lvl3pPr>
            <a:lvl4pPr>
              <a:defRPr sz="912"/>
            </a:lvl4pPr>
            <a:lvl5pPr>
              <a:defRPr sz="912"/>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6248966" y="4132244"/>
            <a:ext cx="1625600" cy="664460"/>
          </a:xfrm>
        </p:spPr>
        <p:txBody>
          <a:bodyPr>
            <a:noAutofit/>
          </a:bodyPr>
          <a:lstStyle>
            <a:lvl1pPr rtl="0">
              <a:lnSpc>
                <a:spcPct val="120000"/>
              </a:lnSpc>
              <a:defRPr sz="912" b="1">
                <a:solidFill>
                  <a:schemeClr val="bg2"/>
                </a:solidFill>
              </a:defRPr>
            </a:lvl1pPr>
            <a:lvl2pPr marL="0" indent="0" rtl="0">
              <a:lnSpc>
                <a:spcPct val="120000"/>
              </a:lnSpc>
              <a:spcBef>
                <a:spcPts val="0"/>
              </a:spcBef>
              <a:buFont typeface="Arial" panose="020B0604020202020204" pitchFamily="34" charset="0"/>
              <a:buNone/>
              <a:defRPr sz="912">
                <a:solidFill>
                  <a:schemeClr val="bg2"/>
                </a:solidFill>
              </a:defRPr>
            </a:lvl2pPr>
            <a:lvl3pPr>
              <a:defRPr sz="912"/>
            </a:lvl3pPr>
            <a:lvl4pPr>
              <a:defRPr sz="912"/>
            </a:lvl4pPr>
            <a:lvl5pPr>
              <a:defRPr sz="912"/>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6248965" y="6225626"/>
            <a:ext cx="1911619" cy="136288"/>
          </a:xfrm>
        </p:spPr>
        <p:txBody>
          <a:bodyPr/>
          <a:lstStyle>
            <a:lvl1pPr rtl="0">
              <a:defRPr sz="912">
                <a:solidFill>
                  <a:schemeClr val="bg2"/>
                </a:solidFill>
              </a:defRPr>
            </a:lvl1pPr>
            <a:lvl2pPr>
              <a:defRPr sz="912"/>
            </a:lvl2pPr>
            <a:lvl3pPr>
              <a:defRPr sz="912"/>
            </a:lvl3pPr>
            <a:lvl4pPr>
              <a:defRPr sz="912"/>
            </a:lvl4pPr>
            <a:lvl5pPr>
              <a:defRPr sz="912"/>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9116394" y="3261820"/>
            <a:ext cx="2581409" cy="3114630"/>
          </a:xfrm>
        </p:spPr>
        <p:txBody>
          <a:bodyPr>
            <a:noAutofit/>
          </a:bodyPr>
          <a:lstStyle>
            <a:lvl1pPr rtl="0">
              <a:lnSpc>
                <a:spcPct val="120000"/>
              </a:lnSpc>
              <a:defRPr sz="912" b="1">
                <a:solidFill>
                  <a:schemeClr val="bg2"/>
                </a:solidFill>
              </a:defRPr>
            </a:lvl1pPr>
            <a:lvl2pPr marL="0" indent="0" rtl="0">
              <a:lnSpc>
                <a:spcPct val="120000"/>
              </a:lnSpc>
              <a:spcBef>
                <a:spcPts val="1368"/>
              </a:spcBef>
              <a:buFont typeface="Arial" panose="020B0604020202020204" pitchFamily="34" charset="0"/>
              <a:buNone/>
              <a:defRPr sz="912">
                <a:solidFill>
                  <a:schemeClr val="bg2"/>
                </a:solidFill>
              </a:defRPr>
            </a:lvl2pPr>
          </a:lstStyle>
          <a:p>
            <a:pPr lvl="0"/>
            <a:r>
              <a:rPr lang="en-US"/>
              <a:t>Unite.eu is Europe’s supplier-neutral </a:t>
            </a:r>
            <a:br>
              <a:rPr lang="en-US"/>
            </a:br>
            <a:r>
              <a:rPr lang="en-US"/>
              <a:t>B2B networking platform from </a:t>
            </a:r>
            <a:r>
              <a:rPr lang="en-US" err="1"/>
              <a:t>Mercateo</a:t>
            </a:r>
            <a:r>
              <a:rPr lang="en-US"/>
              <a:t>. </a:t>
            </a:r>
          </a:p>
          <a:p>
            <a:pPr lvl="1"/>
            <a:r>
              <a:rPr lang="en-US"/>
              <a:t>Purchasers, retailers, manufacturers and service providers use this infrastructure </a:t>
            </a:r>
            <a:br>
              <a:rPr lang="en-US"/>
            </a:br>
            <a:r>
              <a:rPr lang="en-US"/>
              <a:t>for cooperation and digital transactions, regardless of their previous degree of </a:t>
            </a:r>
            <a:r>
              <a:rPr lang="en-US" err="1"/>
              <a:t>digitisation</a:t>
            </a:r>
            <a:r>
              <a:rPr lang="en-US"/>
              <a:t>. With new digital collaboration models manufacturers and specialist retailers resolve channel conflicts within multi-stage B2B sales and thus meet the expectations of the customers with regard to modern purchasing processes and service. Besides the networking platform Unite.eu, which positions itself neutrally between suppliers and purchasers in the B2B field, </a:t>
            </a:r>
            <a:r>
              <a:rPr lang="en-US" err="1"/>
              <a:t>Mercateo</a:t>
            </a:r>
            <a:r>
              <a:rPr lang="en-US"/>
              <a:t> has </a:t>
            </a:r>
            <a:br>
              <a:rPr lang="en-US"/>
            </a:br>
            <a:r>
              <a:rPr lang="en-US"/>
              <a:t>been operating Europe’s largest B2B marketplace since 2000.</a:t>
            </a:r>
          </a:p>
        </p:txBody>
      </p:sp>
    </p:spTree>
    <p:extLst>
      <p:ext uri="{BB962C8B-B14F-4D97-AF65-F5344CB8AC3E}">
        <p14:creationId xmlns:p14="http://schemas.microsoft.com/office/powerpoint/2010/main" val="39876199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3F825-CE71-8847-B0E8-40A69DDE60B9}"/>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NP"/>
          </a:p>
        </p:txBody>
      </p:sp>
      <p:sp>
        <p:nvSpPr>
          <p:cNvPr id="3" name="Subtitle 2">
            <a:extLst>
              <a:ext uri="{FF2B5EF4-FFF2-40B4-BE49-F238E27FC236}">
                <a16:creationId xmlns:a16="http://schemas.microsoft.com/office/drawing/2014/main" id="{A9213886-0921-5D4E-81EE-FE2C04987D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NP"/>
          </a:p>
        </p:txBody>
      </p:sp>
      <p:sp>
        <p:nvSpPr>
          <p:cNvPr id="4" name="Date Placeholder 3">
            <a:extLst>
              <a:ext uri="{FF2B5EF4-FFF2-40B4-BE49-F238E27FC236}">
                <a16:creationId xmlns:a16="http://schemas.microsoft.com/office/drawing/2014/main" id="{344D4A19-42E4-6E4A-A615-9DFDA3A7849E}"/>
              </a:ext>
            </a:extLst>
          </p:cNvPr>
          <p:cNvSpPr>
            <a:spLocks noGrp="1"/>
          </p:cNvSpPr>
          <p:nvPr>
            <p:ph type="dt" sz="half" idx="10"/>
          </p:nvPr>
        </p:nvSpPr>
        <p:spPr/>
        <p:txBody>
          <a:bodyPr/>
          <a:lstStyle/>
          <a:p>
            <a:fld id="{D1841161-7AEA-45A0-9DD6-72288FE30A04}" type="datetimeFigureOut">
              <a:rPr lang="nl-NL" smtClean="0"/>
              <a:t>5-10-2023</a:t>
            </a:fld>
            <a:endParaRPr lang="nl-NL"/>
          </a:p>
        </p:txBody>
      </p:sp>
      <p:sp>
        <p:nvSpPr>
          <p:cNvPr id="5" name="Footer Placeholder 4">
            <a:extLst>
              <a:ext uri="{FF2B5EF4-FFF2-40B4-BE49-F238E27FC236}">
                <a16:creationId xmlns:a16="http://schemas.microsoft.com/office/drawing/2014/main" id="{E81D14F4-07E1-E849-8EA7-0083D778FB8A}"/>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A0E4AEA-AE8B-FE4E-888F-EF0554EF2F19}"/>
              </a:ext>
            </a:extLst>
          </p:cNvPr>
          <p:cNvSpPr>
            <a:spLocks noGrp="1"/>
          </p:cNvSpPr>
          <p:nvPr>
            <p:ph type="sldNum" sz="quarter" idx="12"/>
          </p:nvPr>
        </p:nvSpPr>
        <p:spPr/>
        <p:txBody>
          <a:bodyPr/>
          <a:lstStyle/>
          <a:p>
            <a:fld id="{B052C1DA-1795-4710-A2F6-220293EA01D5}" type="slidenum">
              <a:rPr lang="nl-NL" smtClean="0"/>
              <a:t>‹nr.›</a:t>
            </a:fld>
            <a:endParaRPr lang="nl-NL"/>
          </a:p>
        </p:txBody>
      </p:sp>
    </p:spTree>
    <p:extLst>
      <p:ext uri="{BB962C8B-B14F-4D97-AF65-F5344CB8AC3E}">
        <p14:creationId xmlns:p14="http://schemas.microsoft.com/office/powerpoint/2010/main" val="2356574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Leeg">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prstGeom prst="rect">
            <a:avLst/>
          </a:prstGeom>
        </p:spPr>
        <p:txBody>
          <a:bodyPr/>
          <a:lstStyle/>
          <a:p>
            <a:fld id="{B052C1DA-1795-4710-A2F6-220293EA01D5}" type="slidenum">
              <a:rPr lang="nl-NL" smtClean="0"/>
              <a:t>‹nr.›</a:t>
            </a:fld>
            <a:endParaRPr lang="nl-NL"/>
          </a:p>
        </p:txBody>
      </p:sp>
    </p:spTree>
    <p:extLst>
      <p:ext uri="{BB962C8B-B14F-4D97-AF65-F5344CB8AC3E}">
        <p14:creationId xmlns:p14="http://schemas.microsoft.com/office/powerpoint/2010/main" val="2953514016"/>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ver blank">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CB03FA-ACAF-4D0F-9B0B-AB20115D025C}"/>
              </a:ext>
            </a:extLst>
          </p:cNvPr>
          <p:cNvGraphicFramePr>
            <a:graphicFrameLocks noChangeAspect="1"/>
          </p:cNvGraphicFramePr>
          <p:nvPr>
            <p:custDataLst>
              <p:tags r:id="rId1"/>
            </p:custDataLst>
            <p:extLst>
              <p:ext uri="{D42A27DB-BD31-4B8C-83A1-F6EECF244321}">
                <p14:modId xmlns:p14="http://schemas.microsoft.com/office/powerpoint/2010/main" val="54483300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BCB03FA-ACAF-4D0F-9B0B-AB20115D025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p:cNvSpPr>
            <a:spLocks noGrp="1"/>
          </p:cNvSpPr>
          <p:nvPr>
            <p:ph type="ctrTitle" hasCustomPrompt="1"/>
          </p:nvPr>
        </p:nvSpPr>
        <p:spPr bwMode="gray">
          <a:xfrm>
            <a:off x="492388" y="1682960"/>
            <a:ext cx="11205415" cy="1774280"/>
          </a:xfrm>
        </p:spPr>
        <p:txBody>
          <a:bodyPr vert="horz" tIns="72000" anchor="t">
            <a:noAutofit/>
          </a:bodyPr>
          <a:lstStyle>
            <a:lvl1pPr algn="l" rtl="0">
              <a:lnSpc>
                <a:spcPct val="100000"/>
              </a:lnSpc>
              <a:defRPr sz="5473">
                <a:solidFill>
                  <a:schemeClr val="bg2"/>
                </a:solidFill>
                <a:latin typeface="Poppins Medium" panose="00000600000000000000" pitchFamily="2" charset="0"/>
                <a:cs typeface="Poppins Medium" panose="00000600000000000000" pitchFamily="2" charset="0"/>
              </a:defRPr>
            </a:lvl1pPr>
          </a:lstStyle>
          <a:p>
            <a:r>
              <a:rPr lang="en-US"/>
              <a:t>Insert headline here,</a:t>
            </a:r>
            <a:br>
              <a:rPr lang="en-US"/>
            </a:br>
            <a:r>
              <a:rPr lang="en-US"/>
              <a:t>Poppins Medium, 48pt</a:t>
            </a:r>
          </a:p>
        </p:txBody>
      </p:sp>
      <p:sp>
        <p:nvSpPr>
          <p:cNvPr id="3" name="Subtitle 2"/>
          <p:cNvSpPr>
            <a:spLocks noGrp="1"/>
          </p:cNvSpPr>
          <p:nvPr>
            <p:ph type="subTitle" idx="1" hasCustomPrompt="1"/>
          </p:nvPr>
        </p:nvSpPr>
        <p:spPr bwMode="gray">
          <a:xfrm>
            <a:off x="492387" y="3593014"/>
            <a:ext cx="11205414"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pic>
        <p:nvPicPr>
          <p:cNvPr id="4" name="Picture 2" descr="Unite_Mercateo_logo landscape_white_RGB@5x">
            <a:extLst>
              <a:ext uri="{FF2B5EF4-FFF2-40B4-BE49-F238E27FC236}">
                <a16:creationId xmlns:a16="http://schemas.microsoft.com/office/drawing/2014/main" id="{DBD7F572-4374-5DB6-E3A4-7FE7F337DC2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51317" y="363465"/>
            <a:ext cx="4129237" cy="1097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56314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ver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6A1245E-C09D-4C80-B1DE-EAA4B5308E48}"/>
              </a:ext>
            </a:extLst>
          </p:cNvPr>
          <p:cNvGraphicFramePr>
            <a:graphicFrameLocks noChangeAspect="1"/>
          </p:cNvGraphicFramePr>
          <p:nvPr>
            <p:custDataLst>
              <p:tags r:id="rId1"/>
            </p:custDataLst>
            <p:extLst>
              <p:ext uri="{D42A27DB-BD31-4B8C-83A1-F6EECF244321}">
                <p14:modId xmlns:p14="http://schemas.microsoft.com/office/powerpoint/2010/main" val="218966586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6A1245E-C09D-4C80-B1DE-EAA4B5308E4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2" name="Title 1"/>
          <p:cNvSpPr>
            <a:spLocks noGrp="1"/>
          </p:cNvSpPr>
          <p:nvPr>
            <p:ph type="ctrTitle" hasCustomPrompt="1"/>
          </p:nvPr>
        </p:nvSpPr>
        <p:spPr bwMode="gray">
          <a:xfrm>
            <a:off x="492387" y="1682960"/>
            <a:ext cx="5110877" cy="1351516"/>
          </a:xfrm>
        </p:spPr>
        <p:txBody>
          <a:bodyPr vert="horz" tIns="72000" anchor="t">
            <a:noAutofit/>
          </a:bodyPr>
          <a:lstStyle>
            <a:lvl1pPr algn="l" rtl="0">
              <a:lnSpc>
                <a:spcPct val="100000"/>
              </a:lnSpc>
              <a:defRPr sz="4105">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92387" y="3200505"/>
            <a:ext cx="5110877"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sp>
        <p:nvSpPr>
          <p:cNvPr id="17" name="Picture Placeholder 16">
            <a:extLst>
              <a:ext uri="{FF2B5EF4-FFF2-40B4-BE49-F238E27FC236}">
                <a16:creationId xmlns:a16="http://schemas.microsoft.com/office/drawing/2014/main" id="{3158AC2D-D2D8-4392-90E3-D226D2BE1C6A}"/>
              </a:ext>
            </a:extLst>
          </p:cNvPr>
          <p:cNvSpPr>
            <a:spLocks noGrp="1" noChangeAspect="1"/>
          </p:cNvSpPr>
          <p:nvPr>
            <p:ph type="pic" sz="quarter" idx="14" hasCustomPrompt="1"/>
          </p:nvPr>
        </p:nvSpPr>
        <p:spPr bwMode="gray">
          <a:xfrm>
            <a:off x="5849046" y="496088"/>
            <a:ext cx="5839931" cy="5865248"/>
          </a:xfrm>
          <a:custGeom>
            <a:avLst/>
            <a:gdLst>
              <a:gd name="connsiteX0" fmla="*/ 2554651 w 5121346"/>
              <a:gd name="connsiteY0" fmla="*/ 0 h 5123946"/>
              <a:gd name="connsiteX1" fmla="*/ 2569105 w 5121346"/>
              <a:gd name="connsiteY1" fmla="*/ 0 h 5123946"/>
              <a:gd name="connsiteX2" fmla="*/ 2729128 w 5121346"/>
              <a:gd name="connsiteY2" fmla="*/ 11209 h 5123946"/>
              <a:gd name="connsiteX3" fmla="*/ 3327090 w 5121346"/>
              <a:gd name="connsiteY3" fmla="*/ 774574 h 5123946"/>
              <a:gd name="connsiteX4" fmla="*/ 3327090 w 5121346"/>
              <a:gd name="connsiteY4" fmla="*/ 1794387 h 5123946"/>
              <a:gd name="connsiteX5" fmla="*/ 4347030 w 5121346"/>
              <a:gd name="connsiteY5" fmla="*/ 1794387 h 5123946"/>
              <a:gd name="connsiteX6" fmla="*/ 5121346 w 5121346"/>
              <a:gd name="connsiteY6" fmla="*/ 2564513 h 5123946"/>
              <a:gd name="connsiteX7" fmla="*/ 4347030 w 5121346"/>
              <a:gd name="connsiteY7" fmla="*/ 3329691 h 5123946"/>
              <a:gd name="connsiteX8" fmla="*/ 3327218 w 5121346"/>
              <a:gd name="connsiteY8" fmla="*/ 3329691 h 5123946"/>
              <a:gd name="connsiteX9" fmla="*/ 3327218 w 5121346"/>
              <a:gd name="connsiteY9" fmla="*/ 4349630 h 5123946"/>
              <a:gd name="connsiteX10" fmla="*/ 2557090 w 5121346"/>
              <a:gd name="connsiteY10" fmla="*/ 5123946 h 5123946"/>
              <a:gd name="connsiteX11" fmla="*/ 1791912 w 5121346"/>
              <a:gd name="connsiteY11" fmla="*/ 4349630 h 5123946"/>
              <a:gd name="connsiteX12" fmla="*/ 1791912 w 5121346"/>
              <a:gd name="connsiteY12" fmla="*/ 3329691 h 5123946"/>
              <a:gd name="connsiteX13" fmla="*/ 771974 w 5121346"/>
              <a:gd name="connsiteY13" fmla="*/ 3329691 h 5123946"/>
              <a:gd name="connsiteX14" fmla="*/ 9364 w 5121346"/>
              <a:gd name="connsiteY14" fmla="*/ 2728497 h 5123946"/>
              <a:gd name="connsiteX15" fmla="*/ 0 w 5121346"/>
              <a:gd name="connsiteY15" fmla="*/ 2593477 h 5123946"/>
              <a:gd name="connsiteX16" fmla="*/ 0 w 5121346"/>
              <a:gd name="connsiteY16" fmla="*/ 2526147 h 5123946"/>
              <a:gd name="connsiteX17" fmla="*/ 9338 w 5121346"/>
              <a:gd name="connsiteY17" fmla="*/ 2392471 h 5123946"/>
              <a:gd name="connsiteX18" fmla="*/ 771974 w 5121346"/>
              <a:gd name="connsiteY18" fmla="*/ 1794387 h 5123946"/>
              <a:gd name="connsiteX19" fmla="*/ 1791912 w 5121346"/>
              <a:gd name="connsiteY19" fmla="*/ 1794387 h 5123946"/>
              <a:gd name="connsiteX20" fmla="*/ 1791912 w 5121346"/>
              <a:gd name="connsiteY20" fmla="*/ 774574 h 5123946"/>
              <a:gd name="connsiteX21" fmla="*/ 1791786 w 5121346"/>
              <a:gd name="connsiteY21" fmla="*/ 774574 h 5123946"/>
              <a:gd name="connsiteX22" fmla="*/ 2393065 w 5121346"/>
              <a:gd name="connsiteY22" fmla="*/ 11209 h 512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3946">
                <a:moveTo>
                  <a:pt x="2554651" y="0"/>
                </a:moveTo>
                <a:lnTo>
                  <a:pt x="2569105" y="0"/>
                </a:lnTo>
                <a:lnTo>
                  <a:pt x="2729128" y="11209"/>
                </a:lnTo>
                <a:cubicBezTo>
                  <a:pt x="3099481" y="66004"/>
                  <a:pt x="3327090" y="313967"/>
                  <a:pt x="3327090" y="774574"/>
                </a:cubicBezTo>
                <a:lnTo>
                  <a:pt x="3327090" y="1794387"/>
                </a:lnTo>
                <a:lnTo>
                  <a:pt x="4347030" y="1794387"/>
                </a:lnTo>
                <a:cubicBezTo>
                  <a:pt x="4872675" y="1794387"/>
                  <a:pt x="5121346" y="2091801"/>
                  <a:pt x="5121346" y="2564513"/>
                </a:cubicBezTo>
                <a:cubicBezTo>
                  <a:pt x="5121346" y="3032404"/>
                  <a:pt x="4873311" y="3329691"/>
                  <a:pt x="4347030" y="3329691"/>
                </a:cubicBezTo>
                <a:lnTo>
                  <a:pt x="3327218" y="3329691"/>
                </a:lnTo>
                <a:lnTo>
                  <a:pt x="3327218" y="4349630"/>
                </a:lnTo>
                <a:cubicBezTo>
                  <a:pt x="3327218" y="4875404"/>
                  <a:pt x="3029931" y="5123946"/>
                  <a:pt x="2557090" y="5123946"/>
                </a:cubicBezTo>
                <a:cubicBezTo>
                  <a:pt x="2089200" y="5123946"/>
                  <a:pt x="1791912" y="4876039"/>
                  <a:pt x="1791912" y="4349630"/>
                </a:cubicBezTo>
                <a:lnTo>
                  <a:pt x="1791912" y="3329691"/>
                </a:lnTo>
                <a:lnTo>
                  <a:pt x="771974" y="3329691"/>
                </a:lnTo>
                <a:cubicBezTo>
                  <a:pt x="311922" y="3329691"/>
                  <a:pt x="64125" y="3102081"/>
                  <a:pt x="9364" y="2728497"/>
                </a:cubicBezTo>
                <a:lnTo>
                  <a:pt x="0" y="2593477"/>
                </a:lnTo>
                <a:lnTo>
                  <a:pt x="0" y="2526147"/>
                </a:lnTo>
                <a:lnTo>
                  <a:pt x="9338" y="2392471"/>
                </a:lnTo>
                <a:cubicBezTo>
                  <a:pt x="63986" y="2022095"/>
                  <a:pt x="311366" y="1794387"/>
                  <a:pt x="771974" y="1794387"/>
                </a:cubicBezTo>
                <a:lnTo>
                  <a:pt x="1791912" y="1794387"/>
                </a:lnTo>
                <a:lnTo>
                  <a:pt x="1791912" y="774574"/>
                </a:lnTo>
                <a:lnTo>
                  <a:pt x="1791786" y="774574"/>
                </a:lnTo>
                <a:cubicBezTo>
                  <a:pt x="1791786" y="313967"/>
                  <a:pt x="2019397" y="66004"/>
                  <a:pt x="2393065" y="11209"/>
                </a:cubicBezTo>
                <a:close/>
              </a:path>
            </a:pathLst>
          </a:custGeom>
          <a:solidFill>
            <a:schemeClr val="bg1"/>
          </a:solidFill>
        </p:spPr>
        <p:txBody>
          <a:bodyPr wrap="square">
            <a:noAutofit/>
          </a:bodyPr>
          <a:lstStyle>
            <a:lvl1pPr algn="ctr" rtl="0">
              <a:defRPr/>
            </a:lvl1pPr>
          </a:lstStyle>
          <a:p>
            <a:r>
              <a:rPr lang="en-US"/>
              <a:t> </a:t>
            </a:r>
          </a:p>
        </p:txBody>
      </p:sp>
      <p:pic>
        <p:nvPicPr>
          <p:cNvPr id="7" name="Picture 2" descr="Unite_Mercateo_logo landscape_white_RGB@5x">
            <a:extLst>
              <a:ext uri="{FF2B5EF4-FFF2-40B4-BE49-F238E27FC236}">
                <a16:creationId xmlns:a16="http://schemas.microsoft.com/office/drawing/2014/main" id="{3B2C9362-FE7B-9D66-D6E1-525C5629D9A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90954" y="167723"/>
            <a:ext cx="4173783" cy="1109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24416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ver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0AAD16C-F82C-4D2A-86E0-6B4B7B9849E3}"/>
              </a:ext>
            </a:extLst>
          </p:cNvPr>
          <p:cNvGraphicFramePr>
            <a:graphicFrameLocks noChangeAspect="1"/>
          </p:cNvGraphicFramePr>
          <p:nvPr>
            <p:custDataLst>
              <p:tags r:id="rId1"/>
            </p:custDataLst>
            <p:extLst>
              <p:ext uri="{D42A27DB-BD31-4B8C-83A1-F6EECF244321}">
                <p14:modId xmlns:p14="http://schemas.microsoft.com/office/powerpoint/2010/main" val="398353663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0AAD16C-F82C-4D2A-86E0-6B4B7B9849E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2" name="Title 1"/>
          <p:cNvSpPr>
            <a:spLocks noGrp="1"/>
          </p:cNvSpPr>
          <p:nvPr>
            <p:ph type="ctrTitle" hasCustomPrompt="1"/>
          </p:nvPr>
        </p:nvSpPr>
        <p:spPr bwMode="gray">
          <a:xfrm>
            <a:off x="492387" y="1682960"/>
            <a:ext cx="5110877" cy="1351516"/>
          </a:xfrm>
        </p:spPr>
        <p:txBody>
          <a:bodyPr vert="horz" tIns="72000" anchor="t">
            <a:noAutofit/>
          </a:bodyPr>
          <a:lstStyle>
            <a:lvl1pPr algn="l" rtl="0">
              <a:lnSpc>
                <a:spcPct val="100000"/>
              </a:lnSpc>
              <a:defRPr sz="4105">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92387" y="3200505"/>
            <a:ext cx="5110877"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sp>
        <p:nvSpPr>
          <p:cNvPr id="30" name="Picture Placeholder 29">
            <a:extLst>
              <a:ext uri="{FF2B5EF4-FFF2-40B4-BE49-F238E27FC236}">
                <a16:creationId xmlns:a16="http://schemas.microsoft.com/office/drawing/2014/main" id="{93D7FE7A-ABEA-4A29-A572-4273B6CF27D2}"/>
              </a:ext>
            </a:extLst>
          </p:cNvPr>
          <p:cNvSpPr>
            <a:spLocks noGrp="1" noChangeAspect="1"/>
          </p:cNvSpPr>
          <p:nvPr>
            <p:ph type="pic" sz="quarter" idx="14" hasCustomPrompt="1"/>
          </p:nvPr>
        </p:nvSpPr>
        <p:spPr bwMode="gray">
          <a:xfrm>
            <a:off x="7894702" y="496088"/>
            <a:ext cx="1748473" cy="2052172"/>
          </a:xfrm>
          <a:custGeom>
            <a:avLst/>
            <a:gdLst>
              <a:gd name="connsiteX0" fmla="*/ 760392 w 1533329"/>
              <a:gd name="connsiteY0" fmla="*/ 0 h 1792800"/>
              <a:gd name="connsiteX1" fmla="*/ 774842 w 1533329"/>
              <a:gd name="connsiteY1" fmla="*/ 0 h 1792800"/>
              <a:gd name="connsiteX2" fmla="*/ 934837 w 1533329"/>
              <a:gd name="connsiteY2" fmla="*/ 11206 h 1792800"/>
              <a:gd name="connsiteX3" fmla="*/ 1532695 w 1533329"/>
              <a:gd name="connsiteY3" fmla="*/ 774324 h 1792800"/>
              <a:gd name="connsiteX4" fmla="*/ 1533329 w 1533329"/>
              <a:gd name="connsiteY4" fmla="*/ 1792800 h 1792800"/>
              <a:gd name="connsiteX5" fmla="*/ 0 w 1533329"/>
              <a:gd name="connsiteY5" fmla="*/ 1792800 h 1792800"/>
              <a:gd name="connsiteX6" fmla="*/ 0 w 1533329"/>
              <a:gd name="connsiteY6" fmla="*/ 742787 h 1792800"/>
              <a:gd name="connsiteX7" fmla="*/ 11353 w 1533329"/>
              <a:gd name="connsiteY7" fmla="*/ 589943 h 1792800"/>
              <a:gd name="connsiteX8" fmla="*/ 598833 w 1533329"/>
              <a:gd name="connsiteY8" fmla="*/ 11206 h 179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329" h="1792800">
                <a:moveTo>
                  <a:pt x="760392" y="0"/>
                </a:moveTo>
                <a:lnTo>
                  <a:pt x="774842" y="0"/>
                </a:lnTo>
                <a:lnTo>
                  <a:pt x="934837" y="11206"/>
                </a:lnTo>
                <a:cubicBezTo>
                  <a:pt x="1305124" y="65982"/>
                  <a:pt x="1532695" y="313866"/>
                  <a:pt x="1532695" y="774324"/>
                </a:cubicBezTo>
                <a:lnTo>
                  <a:pt x="1533329" y="1792800"/>
                </a:lnTo>
                <a:lnTo>
                  <a:pt x="0" y="1792800"/>
                </a:lnTo>
                <a:lnTo>
                  <a:pt x="0" y="742787"/>
                </a:lnTo>
                <a:lnTo>
                  <a:pt x="11353" y="589943"/>
                </a:lnTo>
                <a:cubicBezTo>
                  <a:pt x="65658" y="246983"/>
                  <a:pt x="278601" y="58157"/>
                  <a:pt x="598833" y="11206"/>
                </a:cubicBezTo>
                <a:close/>
              </a:path>
            </a:pathLst>
          </a:custGeom>
          <a:solidFill>
            <a:schemeClr val="bg1"/>
          </a:solidFill>
        </p:spPr>
        <p:txBody>
          <a:bodyPr wrap="square">
            <a:noAutofit/>
          </a:bodyPr>
          <a:lstStyle>
            <a:lvl1pPr algn="ctr" rtl="0">
              <a:defRPr/>
            </a:lvl1pPr>
          </a:lstStyle>
          <a:p>
            <a:r>
              <a:rPr lang="en-US"/>
              <a:t> </a:t>
            </a:r>
          </a:p>
        </p:txBody>
      </p:sp>
      <p:sp>
        <p:nvSpPr>
          <p:cNvPr id="37" name="Picture Placeholder 36">
            <a:extLst>
              <a:ext uri="{FF2B5EF4-FFF2-40B4-BE49-F238E27FC236}">
                <a16:creationId xmlns:a16="http://schemas.microsoft.com/office/drawing/2014/main" id="{E32E1A6E-3A6F-48BD-BE75-504B67390680}"/>
              </a:ext>
            </a:extLst>
          </p:cNvPr>
          <p:cNvSpPr>
            <a:spLocks noGrp="1" noChangeAspect="1"/>
          </p:cNvSpPr>
          <p:nvPr>
            <p:ph type="pic" sz="quarter" idx="15" hasCustomPrompt="1"/>
          </p:nvPr>
        </p:nvSpPr>
        <p:spPr bwMode="gray">
          <a:xfrm>
            <a:off x="5854477" y="2543813"/>
            <a:ext cx="2042985" cy="1757008"/>
          </a:xfrm>
          <a:custGeom>
            <a:avLst/>
            <a:gdLst>
              <a:gd name="connsiteX0" fmla="*/ 981733 w 1791602"/>
              <a:gd name="connsiteY0" fmla="*/ 0 h 1534942"/>
              <a:gd name="connsiteX1" fmla="*/ 1791602 w 1791602"/>
              <a:gd name="connsiteY1" fmla="*/ 0 h 1534942"/>
              <a:gd name="connsiteX2" fmla="*/ 1791602 w 1791602"/>
              <a:gd name="connsiteY2" fmla="*/ 1534942 h 1534942"/>
              <a:gd name="connsiteX3" fmla="*/ 771840 w 1791602"/>
              <a:gd name="connsiteY3" fmla="*/ 1534942 h 1534942"/>
              <a:gd name="connsiteX4" fmla="*/ 9362 w 1791602"/>
              <a:gd name="connsiteY4" fmla="*/ 933941 h 1534942"/>
              <a:gd name="connsiteX5" fmla="*/ 0 w 1791602"/>
              <a:gd name="connsiteY5" fmla="*/ 798962 h 1534942"/>
              <a:gd name="connsiteX6" fmla="*/ 0 w 1791602"/>
              <a:gd name="connsiteY6" fmla="*/ 731657 h 1534942"/>
              <a:gd name="connsiteX7" fmla="*/ 9336 w 1791602"/>
              <a:gd name="connsiteY7" fmla="*/ 598022 h 1534942"/>
              <a:gd name="connsiteX8" fmla="*/ 771840 w 1791602"/>
              <a:gd name="connsiteY8" fmla="*/ 131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1602" h="1534942">
                <a:moveTo>
                  <a:pt x="981733" y="0"/>
                </a:moveTo>
                <a:lnTo>
                  <a:pt x="1791602" y="0"/>
                </a:lnTo>
                <a:lnTo>
                  <a:pt x="1791602" y="1534942"/>
                </a:lnTo>
                <a:lnTo>
                  <a:pt x="771840" y="1534942"/>
                </a:lnTo>
                <a:cubicBezTo>
                  <a:pt x="311867" y="1534942"/>
                  <a:pt x="64114" y="1307405"/>
                  <a:pt x="9362" y="933941"/>
                </a:cubicBezTo>
                <a:lnTo>
                  <a:pt x="0" y="798962"/>
                </a:lnTo>
                <a:lnTo>
                  <a:pt x="0" y="731657"/>
                </a:lnTo>
                <a:lnTo>
                  <a:pt x="9336" y="598022"/>
                </a:lnTo>
                <a:cubicBezTo>
                  <a:pt x="63975" y="227765"/>
                  <a:pt x="311312" y="131"/>
                  <a:pt x="771840" y="131"/>
                </a:cubicBezTo>
                <a:close/>
              </a:path>
            </a:pathLst>
          </a:custGeom>
          <a:solidFill>
            <a:schemeClr val="bg1"/>
          </a:solidFill>
        </p:spPr>
        <p:txBody>
          <a:bodyPr wrap="square">
            <a:noAutofit/>
          </a:bodyPr>
          <a:lstStyle>
            <a:lvl1pPr rtl="0">
              <a:defRPr/>
            </a:lvl1pPr>
          </a:lstStyle>
          <a:p>
            <a:r>
              <a:rPr lang="en-US"/>
              <a:t> </a:t>
            </a:r>
          </a:p>
        </p:txBody>
      </p:sp>
      <p:sp>
        <p:nvSpPr>
          <p:cNvPr id="38" name="Picture Placeholder 37">
            <a:extLst>
              <a:ext uri="{FF2B5EF4-FFF2-40B4-BE49-F238E27FC236}">
                <a16:creationId xmlns:a16="http://schemas.microsoft.com/office/drawing/2014/main" id="{F2647A36-7E8D-47F0-A946-F055E0F6A917}"/>
              </a:ext>
            </a:extLst>
          </p:cNvPr>
          <p:cNvSpPr>
            <a:spLocks noGrp="1" noChangeAspect="1"/>
          </p:cNvSpPr>
          <p:nvPr>
            <p:ph type="pic" sz="quarter" idx="16" hasCustomPrompt="1"/>
          </p:nvPr>
        </p:nvSpPr>
        <p:spPr bwMode="gray">
          <a:xfrm>
            <a:off x="7894702" y="2544540"/>
            <a:ext cx="1748782" cy="1755472"/>
          </a:xfrm>
          <a:custGeom>
            <a:avLst/>
            <a:gdLst>
              <a:gd name="connsiteX0" fmla="*/ 0 w 1533600"/>
              <a:gd name="connsiteY0" fmla="*/ 0 h 1533600"/>
              <a:gd name="connsiteX1" fmla="*/ 1533600 w 1533600"/>
              <a:gd name="connsiteY1" fmla="*/ 0 h 1533600"/>
              <a:gd name="connsiteX2" fmla="*/ 1533600 w 1533600"/>
              <a:gd name="connsiteY2" fmla="*/ 1533600 h 1533600"/>
              <a:gd name="connsiteX3" fmla="*/ 0 w 1533600"/>
              <a:gd name="connsiteY3" fmla="*/ 1533600 h 1533600"/>
            </a:gdLst>
            <a:ahLst/>
            <a:cxnLst>
              <a:cxn ang="0">
                <a:pos x="connsiteX0" y="connsiteY0"/>
              </a:cxn>
              <a:cxn ang="0">
                <a:pos x="connsiteX1" y="connsiteY1"/>
              </a:cxn>
              <a:cxn ang="0">
                <a:pos x="connsiteX2" y="connsiteY2"/>
              </a:cxn>
              <a:cxn ang="0">
                <a:pos x="connsiteX3" y="connsiteY3"/>
              </a:cxn>
            </a:cxnLst>
            <a:rect l="l" t="t" r="r" b="b"/>
            <a:pathLst>
              <a:path w="1533600" h="1533600">
                <a:moveTo>
                  <a:pt x="0" y="0"/>
                </a:moveTo>
                <a:lnTo>
                  <a:pt x="1533600" y="0"/>
                </a:lnTo>
                <a:lnTo>
                  <a:pt x="1533600" y="1533600"/>
                </a:lnTo>
                <a:lnTo>
                  <a:pt x="0" y="1533600"/>
                </a:lnTo>
                <a:close/>
              </a:path>
            </a:pathLst>
          </a:custGeom>
          <a:solidFill>
            <a:schemeClr val="bg1"/>
          </a:solidFill>
        </p:spPr>
        <p:txBody>
          <a:bodyPr wrap="square">
            <a:noAutofit/>
          </a:bodyPr>
          <a:lstStyle>
            <a:lvl1pPr rtl="0">
              <a:defRPr/>
            </a:lvl1pPr>
          </a:lstStyle>
          <a:p>
            <a:r>
              <a:rPr lang="en-US"/>
              <a:t> </a:t>
            </a:r>
          </a:p>
        </p:txBody>
      </p:sp>
      <p:sp>
        <p:nvSpPr>
          <p:cNvPr id="39" name="Picture Placeholder 38">
            <a:extLst>
              <a:ext uri="{FF2B5EF4-FFF2-40B4-BE49-F238E27FC236}">
                <a16:creationId xmlns:a16="http://schemas.microsoft.com/office/drawing/2014/main" id="{06985F6C-A55D-472E-93EC-2B31175068B6}"/>
              </a:ext>
            </a:extLst>
          </p:cNvPr>
          <p:cNvSpPr>
            <a:spLocks noGrp="1" noChangeAspect="1"/>
          </p:cNvSpPr>
          <p:nvPr>
            <p:ph type="pic" sz="quarter" idx="18" hasCustomPrompt="1"/>
          </p:nvPr>
        </p:nvSpPr>
        <p:spPr bwMode="gray">
          <a:xfrm>
            <a:off x="7893979" y="4296951"/>
            <a:ext cx="1748474" cy="2051596"/>
          </a:xfrm>
          <a:custGeom>
            <a:avLst/>
            <a:gdLst>
              <a:gd name="connsiteX0" fmla="*/ 0 w 1533330"/>
              <a:gd name="connsiteY0" fmla="*/ 0 h 1792297"/>
              <a:gd name="connsiteX1" fmla="*/ 1533330 w 1533330"/>
              <a:gd name="connsiteY1" fmla="*/ 0 h 1792297"/>
              <a:gd name="connsiteX2" fmla="*/ 1533330 w 1533330"/>
              <a:gd name="connsiteY2" fmla="*/ 1018229 h 1792297"/>
              <a:gd name="connsiteX3" fmla="*/ 763336 w 1533330"/>
              <a:gd name="connsiteY3" fmla="*/ 1792297 h 1792297"/>
              <a:gd name="connsiteX4" fmla="*/ 11976 w 1533330"/>
              <a:gd name="connsiteY4" fmla="*/ 1202578 h 1792297"/>
              <a:gd name="connsiteX5" fmla="*/ 0 w 1533330"/>
              <a:gd name="connsiteY5" fmla="*/ 1041257 h 17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330" h="1792297">
                <a:moveTo>
                  <a:pt x="0" y="0"/>
                </a:moveTo>
                <a:lnTo>
                  <a:pt x="1533330" y="0"/>
                </a:lnTo>
                <a:lnTo>
                  <a:pt x="1533330" y="1018229"/>
                </a:lnTo>
                <a:cubicBezTo>
                  <a:pt x="1533330" y="1543834"/>
                  <a:pt x="1236094" y="1792297"/>
                  <a:pt x="763336" y="1792297"/>
                </a:cubicBezTo>
                <a:cubicBezTo>
                  <a:pt x="354002" y="1792297"/>
                  <a:pt x="75265" y="1602553"/>
                  <a:pt x="11976" y="1202578"/>
                </a:cubicBezTo>
                <a:lnTo>
                  <a:pt x="0" y="1041257"/>
                </a:lnTo>
                <a:close/>
              </a:path>
            </a:pathLst>
          </a:custGeom>
          <a:solidFill>
            <a:schemeClr val="bg1"/>
          </a:solidFill>
        </p:spPr>
        <p:txBody>
          <a:bodyPr wrap="square">
            <a:noAutofit/>
          </a:bodyPr>
          <a:lstStyle>
            <a:lvl1pPr rtl="0">
              <a:defRPr/>
            </a:lvl1pPr>
          </a:lstStyle>
          <a:p>
            <a:r>
              <a:rPr lang="en-US"/>
              <a:t> </a:t>
            </a:r>
          </a:p>
        </p:txBody>
      </p:sp>
      <p:sp>
        <p:nvSpPr>
          <p:cNvPr id="40" name="Picture Placeholder 39">
            <a:extLst>
              <a:ext uri="{FF2B5EF4-FFF2-40B4-BE49-F238E27FC236}">
                <a16:creationId xmlns:a16="http://schemas.microsoft.com/office/drawing/2014/main" id="{3AB5984B-DD16-423C-81CC-26F1A173A0E0}"/>
              </a:ext>
            </a:extLst>
          </p:cNvPr>
          <p:cNvSpPr>
            <a:spLocks noGrp="1" noChangeAspect="1"/>
          </p:cNvSpPr>
          <p:nvPr>
            <p:ph type="pic" sz="quarter" idx="17" hasCustomPrompt="1"/>
          </p:nvPr>
        </p:nvSpPr>
        <p:spPr bwMode="gray">
          <a:xfrm>
            <a:off x="9639547" y="2544539"/>
            <a:ext cx="2042985" cy="1757008"/>
          </a:xfrm>
          <a:custGeom>
            <a:avLst/>
            <a:gdLst>
              <a:gd name="connsiteX0" fmla="*/ 0 w 1791602"/>
              <a:gd name="connsiteY0" fmla="*/ 0 h 1534942"/>
              <a:gd name="connsiteX1" fmla="*/ 1024194 w 1791602"/>
              <a:gd name="connsiteY1" fmla="*/ 0 h 1534942"/>
              <a:gd name="connsiteX2" fmla="*/ 1201826 w 1791602"/>
              <a:gd name="connsiteY2" fmla="*/ 13201 h 1534942"/>
              <a:gd name="connsiteX3" fmla="*/ 1791601 w 1791602"/>
              <a:gd name="connsiteY3" fmla="*/ 770011 h 1534942"/>
              <a:gd name="connsiteX4" fmla="*/ 1017419 w 1791602"/>
              <a:gd name="connsiteY4" fmla="*/ 1534942 h 1534942"/>
              <a:gd name="connsiteX5" fmla="*/ 0 w 1791602"/>
              <a:gd name="connsiteY5" fmla="*/ 1534942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02" h="1534942">
                <a:moveTo>
                  <a:pt x="0" y="0"/>
                </a:moveTo>
                <a:lnTo>
                  <a:pt x="1024194" y="0"/>
                </a:lnTo>
                <a:lnTo>
                  <a:pt x="1201826" y="13201"/>
                </a:lnTo>
                <a:cubicBezTo>
                  <a:pt x="1601996" y="76602"/>
                  <a:pt x="1792268" y="356075"/>
                  <a:pt x="1791601" y="770011"/>
                </a:cubicBezTo>
                <a:cubicBezTo>
                  <a:pt x="1791601" y="1237751"/>
                  <a:pt x="1543608" y="1534942"/>
                  <a:pt x="1017419" y="1534942"/>
                </a:cubicBezTo>
                <a:lnTo>
                  <a:pt x="0" y="1534942"/>
                </a:lnTo>
                <a:close/>
              </a:path>
            </a:pathLst>
          </a:custGeom>
          <a:solidFill>
            <a:schemeClr val="bg1"/>
          </a:solidFill>
        </p:spPr>
        <p:txBody>
          <a:bodyPr wrap="square">
            <a:noAutofit/>
          </a:bodyPr>
          <a:lstStyle>
            <a:lvl1pPr rtl="0">
              <a:defRPr/>
            </a:lvl1pPr>
          </a:lstStyle>
          <a:p>
            <a:r>
              <a:rPr lang="en-US"/>
              <a:t> </a:t>
            </a:r>
          </a:p>
        </p:txBody>
      </p:sp>
      <p:pic>
        <p:nvPicPr>
          <p:cNvPr id="4" name="Picture 2" descr="Unite_Mercateo_logo landscape_white_RGB@5x">
            <a:extLst>
              <a:ext uri="{FF2B5EF4-FFF2-40B4-BE49-F238E27FC236}">
                <a16:creationId xmlns:a16="http://schemas.microsoft.com/office/drawing/2014/main" id="{E7EC016D-3142-2985-68E8-7E478CF3B1C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90954" y="167723"/>
            <a:ext cx="4173783" cy="1109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8814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ver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B03858C-ECC0-4C78-BFE0-FDFF6F3FA451}"/>
              </a:ext>
            </a:extLst>
          </p:cNvPr>
          <p:cNvGraphicFramePr>
            <a:graphicFrameLocks noChangeAspect="1"/>
          </p:cNvGraphicFramePr>
          <p:nvPr>
            <p:custDataLst>
              <p:tags r:id="rId1"/>
            </p:custDataLst>
            <p:extLst>
              <p:ext uri="{D42A27DB-BD31-4B8C-83A1-F6EECF244321}">
                <p14:modId xmlns:p14="http://schemas.microsoft.com/office/powerpoint/2010/main" val="163649114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B03858C-ECC0-4C78-BFE0-FDFF6F3FA45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p:nvSpPr>
        <p:spPr bwMode="gray">
          <a:xfrm>
            <a:off x="1" y="1"/>
            <a:ext cx="12192000" cy="6858000"/>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2" name="Title 1"/>
          <p:cNvSpPr>
            <a:spLocks noGrp="1"/>
          </p:cNvSpPr>
          <p:nvPr>
            <p:ph type="ctrTitle" hasCustomPrompt="1"/>
          </p:nvPr>
        </p:nvSpPr>
        <p:spPr bwMode="gray">
          <a:xfrm>
            <a:off x="492388" y="1682960"/>
            <a:ext cx="4780856" cy="1351516"/>
          </a:xfrm>
        </p:spPr>
        <p:txBody>
          <a:bodyPr vert="horz" tIns="72000" anchor="t">
            <a:noAutofit/>
          </a:bodyPr>
          <a:lstStyle>
            <a:lvl1pPr algn="l" rtl="0">
              <a:lnSpc>
                <a:spcPct val="100000"/>
              </a:lnSpc>
              <a:defRPr sz="4105">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92387" y="3200505"/>
            <a:ext cx="4780857" cy="652496"/>
          </a:xfrm>
        </p:spPr>
        <p:txBody>
          <a:bodyPr>
            <a:noAutofit/>
          </a:bodyPr>
          <a:lstStyle>
            <a:lvl1pPr marL="0" indent="0" algn="l" rtl="0">
              <a:lnSpc>
                <a:spcPct val="120000"/>
              </a:lnSpc>
              <a:spcBef>
                <a:spcPts val="0"/>
              </a:spcBef>
              <a:buNone/>
              <a:defRPr sz="1824">
                <a:solidFill>
                  <a:schemeClr val="bg2"/>
                </a:solidFill>
                <a:latin typeface="Poppins Light" panose="00000400000000000000" pitchFamily="2" charset="0"/>
                <a:cs typeface="Poppins Light" panose="00000400000000000000" pitchFamily="2" charset="0"/>
              </a:defRPr>
            </a:lvl1pPr>
            <a:lvl2pPr marL="455447" indent="0" algn="ctr">
              <a:buNone/>
              <a:defRPr sz="1992"/>
            </a:lvl2pPr>
            <a:lvl3pPr marL="910894" indent="0" algn="ctr">
              <a:buNone/>
              <a:defRPr sz="1793"/>
            </a:lvl3pPr>
            <a:lvl4pPr marL="1366342" indent="0" algn="ctr">
              <a:buNone/>
              <a:defRPr sz="1594"/>
            </a:lvl4pPr>
            <a:lvl5pPr marL="1821789" indent="0" algn="ctr">
              <a:buNone/>
              <a:defRPr sz="1594"/>
            </a:lvl5pPr>
            <a:lvl6pPr marL="2277236" indent="0" algn="ctr">
              <a:buNone/>
              <a:defRPr sz="1594"/>
            </a:lvl6pPr>
            <a:lvl7pPr marL="2732683" indent="0" algn="ctr">
              <a:buNone/>
              <a:defRPr sz="1594"/>
            </a:lvl7pPr>
            <a:lvl8pPr marL="3188129" indent="0" algn="ctr">
              <a:buNone/>
              <a:defRPr sz="1594"/>
            </a:lvl8pPr>
            <a:lvl9pPr marL="3643577" indent="0" algn="ctr">
              <a:buNone/>
              <a:defRPr sz="1594"/>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781282" y="6248249"/>
            <a:ext cx="1292514" cy="140922"/>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92388" y="6248249"/>
            <a:ext cx="667981" cy="140922"/>
          </a:xfrm>
        </p:spPr>
        <p:txBody>
          <a:bodyPr anchor="b">
            <a:noAutofit/>
          </a:bodyPr>
          <a:lstStyle>
            <a:lvl1pPr rtl="0">
              <a:lnSpc>
                <a:spcPct val="100000"/>
              </a:lnSpc>
              <a:defRPr sz="912">
                <a:solidFill>
                  <a:schemeClr val="bg2"/>
                </a:solidFill>
              </a:defRPr>
            </a:lvl1pPr>
          </a:lstStyle>
          <a:p>
            <a:pPr lvl="0"/>
            <a:r>
              <a:rPr lang="en-US"/>
              <a:t>Version 1.1</a:t>
            </a:r>
          </a:p>
        </p:txBody>
      </p:sp>
      <p:sp>
        <p:nvSpPr>
          <p:cNvPr id="41" name="Picture Placeholder 40">
            <a:extLst>
              <a:ext uri="{FF2B5EF4-FFF2-40B4-BE49-F238E27FC236}">
                <a16:creationId xmlns:a16="http://schemas.microsoft.com/office/drawing/2014/main" id="{88370B1E-BB01-4588-8B6E-89329F5B75C9}"/>
              </a:ext>
            </a:extLst>
          </p:cNvPr>
          <p:cNvSpPr>
            <a:spLocks noGrp="1" noChangeAspect="1"/>
          </p:cNvSpPr>
          <p:nvPr>
            <p:ph type="pic" sz="quarter" idx="15" hasCustomPrompt="1"/>
          </p:nvPr>
        </p:nvSpPr>
        <p:spPr bwMode="gray">
          <a:xfrm>
            <a:off x="8297682" y="3"/>
            <a:ext cx="3894319" cy="2299420"/>
          </a:xfrm>
          <a:custGeom>
            <a:avLst/>
            <a:gdLst>
              <a:gd name="connsiteX0" fmla="*/ 2859 w 3415135"/>
              <a:gd name="connsiteY0" fmla="*/ 0 h 2008799"/>
              <a:gd name="connsiteX1" fmla="*/ 3415135 w 3415135"/>
              <a:gd name="connsiteY1" fmla="*/ 0 h 2008799"/>
              <a:gd name="connsiteX2" fmla="*/ 3415135 w 3415135"/>
              <a:gd name="connsiteY2" fmla="*/ 626349 h 2008799"/>
              <a:gd name="connsiteX3" fmla="*/ 3338830 w 3415135"/>
              <a:gd name="connsiteY3" fmla="*/ 632014 h 2008799"/>
              <a:gd name="connsiteX4" fmla="*/ 2555963 w 3415135"/>
              <a:gd name="connsiteY4" fmla="*/ 632014 h 2008799"/>
              <a:gd name="connsiteX5" fmla="*/ 2555963 w 3415135"/>
              <a:gd name="connsiteY5" fmla="*/ 1414977 h 2008799"/>
              <a:gd name="connsiteX6" fmla="*/ 2094387 w 3415135"/>
              <a:gd name="connsiteY6" fmla="*/ 2000401 h 2008799"/>
              <a:gd name="connsiteX7" fmla="*/ 1973250 w 3415135"/>
              <a:gd name="connsiteY7" fmla="*/ 2008799 h 2008799"/>
              <a:gd name="connsiteX8" fmla="*/ 1956351 w 3415135"/>
              <a:gd name="connsiteY8" fmla="*/ 2008799 h 2008799"/>
              <a:gd name="connsiteX9" fmla="*/ 1836405 w 3415135"/>
              <a:gd name="connsiteY9" fmla="*/ 2000421 h 2008799"/>
              <a:gd name="connsiteX10" fmla="*/ 1377374 w 3415135"/>
              <a:gd name="connsiteY10" fmla="*/ 1414977 h 2008799"/>
              <a:gd name="connsiteX11" fmla="*/ 1377374 w 3415135"/>
              <a:gd name="connsiteY11" fmla="*/ 632014 h 2008799"/>
              <a:gd name="connsiteX12" fmla="*/ 594411 w 3415135"/>
              <a:gd name="connsiteY12" fmla="*/ 632014 h 2008799"/>
              <a:gd name="connsiteX13" fmla="*/ 0 w 3415135"/>
              <a:gd name="connsiteY13" fmla="*/ 40916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5135" h="2008799">
                <a:moveTo>
                  <a:pt x="2859" y="0"/>
                </a:moveTo>
                <a:lnTo>
                  <a:pt x="3415135" y="0"/>
                </a:lnTo>
                <a:lnTo>
                  <a:pt x="3415135" y="626349"/>
                </a:lnTo>
                <a:lnTo>
                  <a:pt x="3338830" y="632014"/>
                </a:lnTo>
                <a:lnTo>
                  <a:pt x="2555963" y="632014"/>
                </a:lnTo>
                <a:lnTo>
                  <a:pt x="2555963" y="1414977"/>
                </a:lnTo>
                <a:cubicBezTo>
                  <a:pt x="2555963" y="1768140"/>
                  <a:pt x="2381236" y="1958363"/>
                  <a:pt x="2094387" y="2000401"/>
                </a:cubicBezTo>
                <a:lnTo>
                  <a:pt x="1973250" y="2008799"/>
                </a:lnTo>
                <a:lnTo>
                  <a:pt x="1956351" y="2008799"/>
                </a:lnTo>
                <a:lnTo>
                  <a:pt x="1836405" y="2000421"/>
                </a:lnTo>
                <a:cubicBezTo>
                  <a:pt x="1552101" y="1958470"/>
                  <a:pt x="1377374" y="1768566"/>
                  <a:pt x="1377374" y="1414977"/>
                </a:cubicBezTo>
                <a:lnTo>
                  <a:pt x="1377374" y="632014"/>
                </a:lnTo>
                <a:lnTo>
                  <a:pt x="594411" y="632014"/>
                </a:lnTo>
                <a:cubicBezTo>
                  <a:pt x="190796" y="632014"/>
                  <a:pt x="0" y="403799"/>
                  <a:pt x="0" y="40916"/>
                </a:cubicBezTo>
                <a:close/>
              </a:path>
            </a:pathLst>
          </a:custGeom>
          <a:solidFill>
            <a:schemeClr val="bg1"/>
          </a:solidFill>
        </p:spPr>
        <p:txBody>
          <a:bodyPr wrap="square">
            <a:noAutofit/>
          </a:bodyPr>
          <a:lstStyle>
            <a:lvl1pPr rtl="0">
              <a:defRPr/>
            </a:lvl1pPr>
          </a:lstStyle>
          <a:p>
            <a:r>
              <a:rPr lang="en-US"/>
              <a:t> </a:t>
            </a:r>
          </a:p>
        </p:txBody>
      </p:sp>
      <p:sp>
        <p:nvSpPr>
          <p:cNvPr id="42" name="Picture Placeholder 41">
            <a:extLst>
              <a:ext uri="{FF2B5EF4-FFF2-40B4-BE49-F238E27FC236}">
                <a16:creationId xmlns:a16="http://schemas.microsoft.com/office/drawing/2014/main" id="{DDC5ACD0-7186-4969-A554-ABFCD136773E}"/>
              </a:ext>
            </a:extLst>
          </p:cNvPr>
          <p:cNvSpPr>
            <a:spLocks noGrp="1" noChangeAspect="1"/>
          </p:cNvSpPr>
          <p:nvPr>
            <p:ph type="pic" sz="quarter" idx="16" hasCustomPrompt="1"/>
          </p:nvPr>
        </p:nvSpPr>
        <p:spPr bwMode="gray">
          <a:xfrm>
            <a:off x="8297682" y="4558580"/>
            <a:ext cx="3894319" cy="2299420"/>
          </a:xfrm>
          <a:custGeom>
            <a:avLst/>
            <a:gdLst>
              <a:gd name="connsiteX0" fmla="*/ 1948852 w 3415135"/>
              <a:gd name="connsiteY0" fmla="*/ 0 h 2008799"/>
              <a:gd name="connsiteX1" fmla="*/ 1987900 w 3415135"/>
              <a:gd name="connsiteY1" fmla="*/ 0 h 2008799"/>
              <a:gd name="connsiteX2" fmla="*/ 2096835 w 3415135"/>
              <a:gd name="connsiteY2" fmla="*/ 7631 h 2008799"/>
              <a:gd name="connsiteX3" fmla="*/ 2555865 w 3415135"/>
              <a:gd name="connsiteY3" fmla="*/ 593634 h 2008799"/>
              <a:gd name="connsiteX4" fmla="*/ 2555865 w 3415135"/>
              <a:gd name="connsiteY4" fmla="*/ 1376501 h 2008799"/>
              <a:gd name="connsiteX5" fmla="*/ 3338830 w 3415135"/>
              <a:gd name="connsiteY5" fmla="*/ 1376501 h 2008799"/>
              <a:gd name="connsiteX6" fmla="*/ 3415135 w 3415135"/>
              <a:gd name="connsiteY6" fmla="*/ 1382178 h 2008799"/>
              <a:gd name="connsiteX7" fmla="*/ 3415135 w 3415135"/>
              <a:gd name="connsiteY7" fmla="*/ 2008799 h 2008799"/>
              <a:gd name="connsiteX8" fmla="*/ 3108 w 3415135"/>
              <a:gd name="connsiteY8" fmla="*/ 2008799 h 2008799"/>
              <a:gd name="connsiteX9" fmla="*/ 0 w 3415135"/>
              <a:gd name="connsiteY9" fmla="*/ 1963992 h 2008799"/>
              <a:gd name="connsiteX10" fmla="*/ 594411 w 3415135"/>
              <a:gd name="connsiteY10" fmla="*/ 1376501 h 2008799"/>
              <a:gd name="connsiteX11" fmla="*/ 1377374 w 3415135"/>
              <a:gd name="connsiteY11" fmla="*/ 1376501 h 2008799"/>
              <a:gd name="connsiteX12" fmla="*/ 1377374 w 3415135"/>
              <a:gd name="connsiteY12" fmla="*/ 593634 h 2008799"/>
              <a:gd name="connsiteX13" fmla="*/ 1377277 w 3415135"/>
              <a:gd name="connsiteY13" fmla="*/ 593634 h 2008799"/>
              <a:gd name="connsiteX14" fmla="*/ 1838853 w 3415135"/>
              <a:gd name="connsiteY14" fmla="*/ 7631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15135" h="2008799">
                <a:moveTo>
                  <a:pt x="1948852" y="0"/>
                </a:moveTo>
                <a:lnTo>
                  <a:pt x="1987900" y="0"/>
                </a:lnTo>
                <a:lnTo>
                  <a:pt x="2096835" y="7631"/>
                </a:lnTo>
                <a:cubicBezTo>
                  <a:pt x="2381139" y="49694"/>
                  <a:pt x="2555865" y="240046"/>
                  <a:pt x="2555865" y="593634"/>
                </a:cubicBezTo>
                <a:lnTo>
                  <a:pt x="2555865" y="1376501"/>
                </a:lnTo>
                <a:lnTo>
                  <a:pt x="3338830" y="1376501"/>
                </a:lnTo>
                <a:lnTo>
                  <a:pt x="3415135" y="1382178"/>
                </a:lnTo>
                <a:lnTo>
                  <a:pt x="3415135" y="2008799"/>
                </a:lnTo>
                <a:lnTo>
                  <a:pt x="3108" y="2008799"/>
                </a:lnTo>
                <a:lnTo>
                  <a:pt x="0" y="1963992"/>
                </a:lnTo>
                <a:cubicBezTo>
                  <a:pt x="0" y="1604813"/>
                  <a:pt x="190309" y="1376501"/>
                  <a:pt x="594411" y="1376501"/>
                </a:cubicBezTo>
                <a:lnTo>
                  <a:pt x="1377374" y="1376501"/>
                </a:lnTo>
                <a:lnTo>
                  <a:pt x="1377374" y="593634"/>
                </a:lnTo>
                <a:lnTo>
                  <a:pt x="1377277" y="593634"/>
                </a:lnTo>
                <a:cubicBezTo>
                  <a:pt x="1377277" y="240046"/>
                  <a:pt x="1552004" y="49694"/>
                  <a:pt x="1838853" y="7631"/>
                </a:cubicBezTo>
                <a:close/>
              </a:path>
            </a:pathLst>
          </a:custGeom>
          <a:solidFill>
            <a:schemeClr val="bg1"/>
          </a:solidFill>
        </p:spPr>
        <p:txBody>
          <a:bodyPr wrap="square">
            <a:noAutofit/>
          </a:bodyPr>
          <a:lstStyle>
            <a:lvl1pPr rtl="0">
              <a:defRPr/>
            </a:lvl1pPr>
          </a:lstStyle>
          <a:p>
            <a:r>
              <a:rPr lang="en-US"/>
              <a:t> </a:t>
            </a:r>
          </a:p>
        </p:txBody>
      </p:sp>
      <p:sp>
        <p:nvSpPr>
          <p:cNvPr id="43" name="Picture Placeholder 42">
            <a:extLst>
              <a:ext uri="{FF2B5EF4-FFF2-40B4-BE49-F238E27FC236}">
                <a16:creationId xmlns:a16="http://schemas.microsoft.com/office/drawing/2014/main" id="{F925625A-AFDE-473E-9086-5537177DCF19}"/>
              </a:ext>
            </a:extLst>
          </p:cNvPr>
          <p:cNvSpPr>
            <a:spLocks noGrp="1" noChangeAspect="1"/>
          </p:cNvSpPr>
          <p:nvPr>
            <p:ph type="pic" sz="quarter" idx="14" hasCustomPrompt="1"/>
          </p:nvPr>
        </p:nvSpPr>
        <p:spPr bwMode="gray">
          <a:xfrm>
            <a:off x="5616951" y="1177190"/>
            <a:ext cx="4483068" cy="4503621"/>
          </a:xfrm>
          <a:custGeom>
            <a:avLst/>
            <a:gdLst>
              <a:gd name="connsiteX0" fmla="*/ 1961098 w 3931441"/>
              <a:gd name="connsiteY0" fmla="*/ 0 h 3934413"/>
              <a:gd name="connsiteX1" fmla="*/ 1972192 w 3931441"/>
              <a:gd name="connsiteY1" fmla="*/ 0 h 3934413"/>
              <a:gd name="connsiteX2" fmla="*/ 2095036 w 3931441"/>
              <a:gd name="connsiteY2" fmla="*/ 8607 h 3934413"/>
              <a:gd name="connsiteX3" fmla="*/ 2554066 w 3931441"/>
              <a:gd name="connsiteY3" fmla="*/ 594755 h 3934413"/>
              <a:gd name="connsiteX4" fmla="*/ 2554066 w 3931441"/>
              <a:gd name="connsiteY4" fmla="*/ 1377817 h 3934413"/>
              <a:gd name="connsiteX5" fmla="*/ 3337031 w 3931441"/>
              <a:gd name="connsiteY5" fmla="*/ 1377817 h 3934413"/>
              <a:gd name="connsiteX6" fmla="*/ 3931441 w 3931441"/>
              <a:gd name="connsiteY6" fmla="*/ 1969157 h 3934413"/>
              <a:gd name="connsiteX7" fmla="*/ 3337031 w 3931441"/>
              <a:gd name="connsiteY7" fmla="*/ 2556698 h 3934413"/>
              <a:gd name="connsiteX8" fmla="*/ 2554164 w 3931441"/>
              <a:gd name="connsiteY8" fmla="*/ 2556698 h 3934413"/>
              <a:gd name="connsiteX9" fmla="*/ 2554164 w 3931441"/>
              <a:gd name="connsiteY9" fmla="*/ 3339856 h 3934413"/>
              <a:gd name="connsiteX10" fmla="*/ 1962970 w 3931441"/>
              <a:gd name="connsiteY10" fmla="*/ 3934413 h 3934413"/>
              <a:gd name="connsiteX11" fmla="*/ 1375575 w 3931441"/>
              <a:gd name="connsiteY11" fmla="*/ 3339856 h 3934413"/>
              <a:gd name="connsiteX12" fmla="*/ 1375575 w 3931441"/>
              <a:gd name="connsiteY12" fmla="*/ 2556698 h 3934413"/>
              <a:gd name="connsiteX13" fmla="*/ 592612 w 3931441"/>
              <a:gd name="connsiteY13" fmla="*/ 2556698 h 3934413"/>
              <a:gd name="connsiteX14" fmla="*/ 7188 w 3931441"/>
              <a:gd name="connsiteY14" fmla="*/ 2095072 h 3934413"/>
              <a:gd name="connsiteX15" fmla="*/ 0 w 3931441"/>
              <a:gd name="connsiteY15" fmla="*/ 1991395 h 3934413"/>
              <a:gd name="connsiteX16" fmla="*/ 0 w 3931441"/>
              <a:gd name="connsiteY16" fmla="*/ 1939700 h 3934413"/>
              <a:gd name="connsiteX17" fmla="*/ 7168 w 3931441"/>
              <a:gd name="connsiteY17" fmla="*/ 1837055 h 3934413"/>
              <a:gd name="connsiteX18" fmla="*/ 592612 w 3931441"/>
              <a:gd name="connsiteY18" fmla="*/ 1377817 h 3934413"/>
              <a:gd name="connsiteX19" fmla="*/ 1375575 w 3931441"/>
              <a:gd name="connsiteY19" fmla="*/ 1377817 h 3934413"/>
              <a:gd name="connsiteX20" fmla="*/ 1375575 w 3931441"/>
              <a:gd name="connsiteY20" fmla="*/ 594755 h 3934413"/>
              <a:gd name="connsiteX21" fmla="*/ 1375478 w 3931441"/>
              <a:gd name="connsiteY21" fmla="*/ 594755 h 3934413"/>
              <a:gd name="connsiteX22" fmla="*/ 1837055 w 3931441"/>
              <a:gd name="connsiteY22" fmla="*/ 8607 h 39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1441" h="3934413">
                <a:moveTo>
                  <a:pt x="1961098" y="0"/>
                </a:moveTo>
                <a:lnTo>
                  <a:pt x="1972192" y="0"/>
                </a:lnTo>
                <a:lnTo>
                  <a:pt x="2095036" y="8607"/>
                </a:lnTo>
                <a:cubicBezTo>
                  <a:pt x="2379340" y="50681"/>
                  <a:pt x="2554066" y="241079"/>
                  <a:pt x="2554066" y="594755"/>
                </a:cubicBezTo>
                <a:lnTo>
                  <a:pt x="2554066" y="1377817"/>
                </a:lnTo>
                <a:lnTo>
                  <a:pt x="3337031" y="1377817"/>
                </a:lnTo>
                <a:cubicBezTo>
                  <a:pt x="3740546" y="1377817"/>
                  <a:pt x="3931441" y="1606186"/>
                  <a:pt x="3931441" y="1969157"/>
                </a:cubicBezTo>
                <a:cubicBezTo>
                  <a:pt x="3931441" y="2328426"/>
                  <a:pt x="3741034" y="2556698"/>
                  <a:pt x="3337031" y="2556698"/>
                </a:cubicBezTo>
                <a:lnTo>
                  <a:pt x="2554164" y="2556698"/>
                </a:lnTo>
                <a:lnTo>
                  <a:pt x="2554164" y="3339856"/>
                </a:lnTo>
                <a:cubicBezTo>
                  <a:pt x="2554164" y="3743571"/>
                  <a:pt x="2325949" y="3934413"/>
                  <a:pt x="1962970" y="3934413"/>
                </a:cubicBezTo>
                <a:cubicBezTo>
                  <a:pt x="1603790" y="3934413"/>
                  <a:pt x="1375575" y="3744058"/>
                  <a:pt x="1375575" y="3339856"/>
                </a:cubicBezTo>
                <a:lnTo>
                  <a:pt x="1375575" y="2556698"/>
                </a:lnTo>
                <a:lnTo>
                  <a:pt x="592612" y="2556698"/>
                </a:lnTo>
                <a:cubicBezTo>
                  <a:pt x="239449" y="2556698"/>
                  <a:pt x="49226" y="2381927"/>
                  <a:pt x="7188" y="2095072"/>
                </a:cubicBezTo>
                <a:lnTo>
                  <a:pt x="0" y="1991395"/>
                </a:lnTo>
                <a:lnTo>
                  <a:pt x="0" y="1939700"/>
                </a:lnTo>
                <a:lnTo>
                  <a:pt x="7168" y="1837055"/>
                </a:lnTo>
                <a:cubicBezTo>
                  <a:pt x="49119" y="1552662"/>
                  <a:pt x="239023" y="1377817"/>
                  <a:pt x="592612" y="1377817"/>
                </a:cubicBezTo>
                <a:lnTo>
                  <a:pt x="1375575" y="1377817"/>
                </a:lnTo>
                <a:lnTo>
                  <a:pt x="1375575" y="594755"/>
                </a:lnTo>
                <a:lnTo>
                  <a:pt x="1375478" y="594755"/>
                </a:lnTo>
                <a:cubicBezTo>
                  <a:pt x="1375478" y="241079"/>
                  <a:pt x="1550205" y="50681"/>
                  <a:pt x="1837055" y="8607"/>
                </a:cubicBezTo>
                <a:close/>
              </a:path>
            </a:pathLst>
          </a:custGeom>
          <a:solidFill>
            <a:schemeClr val="bg1"/>
          </a:solidFill>
        </p:spPr>
        <p:txBody>
          <a:bodyPr wrap="square">
            <a:noAutofit/>
          </a:bodyPr>
          <a:lstStyle>
            <a:lvl1pPr rtl="0">
              <a:defRPr/>
            </a:lvl1pPr>
          </a:lstStyle>
          <a:p>
            <a:r>
              <a:rPr lang="en-US"/>
              <a:t> </a:t>
            </a:r>
          </a:p>
        </p:txBody>
      </p:sp>
      <p:pic>
        <p:nvPicPr>
          <p:cNvPr id="4" name="Picture 2" descr="Unite_Mercateo_logo landscape_white_RGB@5x">
            <a:extLst>
              <a:ext uri="{FF2B5EF4-FFF2-40B4-BE49-F238E27FC236}">
                <a16:creationId xmlns:a16="http://schemas.microsoft.com/office/drawing/2014/main" id="{F6B22A75-5B17-74B6-7576-A3660DF9C55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90954" y="167723"/>
            <a:ext cx="4173783" cy="1109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777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5790BA8-1EFC-499A-AB4F-6732B44AEA93}"/>
              </a:ext>
            </a:extLst>
          </p:cNvPr>
          <p:cNvGraphicFramePr>
            <a:graphicFrameLocks noChangeAspect="1"/>
          </p:cNvGraphicFramePr>
          <p:nvPr>
            <p:custDataLst>
              <p:tags r:id="rId1"/>
            </p:custDataLst>
            <p:extLst>
              <p:ext uri="{D42A27DB-BD31-4B8C-83A1-F6EECF244321}">
                <p14:modId xmlns:p14="http://schemas.microsoft.com/office/powerpoint/2010/main" val="29561197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5790BA8-1EFC-499A-AB4F-6732B44AEA9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p:nvSpPr>
        <p:spPr bwMode="gray">
          <a:xfrm>
            <a:off x="0" y="0"/>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053"/>
          </a:p>
        </p:txBody>
      </p:sp>
      <p:sp>
        <p:nvSpPr>
          <p:cNvPr id="2" name="Title 1"/>
          <p:cNvSpPr>
            <a:spLocks noGrp="1"/>
          </p:cNvSpPr>
          <p:nvPr>
            <p:ph type="title" hasCustomPrompt="1"/>
          </p:nvPr>
        </p:nvSpPr>
        <p:spPr bwMode="gray">
          <a:xfrm>
            <a:off x="492389" y="1666346"/>
            <a:ext cx="5112129" cy="717368"/>
          </a:xfrm>
        </p:spPr>
        <p:txBody>
          <a:bodyPr vert="horz" tIns="72000" anchor="t">
            <a:noAutofit/>
          </a:bodyPr>
          <a:lstStyle>
            <a:lvl1pPr rtl="0">
              <a:lnSpc>
                <a:spcPct val="100000"/>
              </a:lnSpc>
              <a:defRPr sz="4105">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92388" y="2705730"/>
            <a:ext cx="5112129" cy="1268294"/>
          </a:xfrm>
        </p:spPr>
        <p:txBody>
          <a:bodyPr>
            <a:noAutofit/>
          </a:bodyPr>
          <a:lstStyle>
            <a:lvl1pPr marL="0" indent="0" rtl="0">
              <a:lnSpc>
                <a:spcPct val="100000"/>
              </a:lnSpc>
              <a:spcBef>
                <a:spcPts val="0"/>
              </a:spcBef>
              <a:buNone/>
              <a:defRPr sz="2737">
                <a:solidFill>
                  <a:schemeClr val="bg2"/>
                </a:solidFill>
                <a:latin typeface="Poppins Light" panose="00000400000000000000" pitchFamily="2" charset="0"/>
                <a:cs typeface="Poppins Light" panose="00000400000000000000" pitchFamily="2" charset="0"/>
              </a:defRPr>
            </a:lvl1pPr>
            <a:lvl2pPr marL="455447" indent="0">
              <a:buNone/>
              <a:defRPr sz="1992">
                <a:solidFill>
                  <a:schemeClr val="tx1">
                    <a:tint val="75000"/>
                  </a:schemeClr>
                </a:solidFill>
              </a:defRPr>
            </a:lvl2pPr>
            <a:lvl3pPr marL="910894" indent="0">
              <a:buNone/>
              <a:defRPr sz="1793">
                <a:solidFill>
                  <a:schemeClr val="tx1">
                    <a:tint val="75000"/>
                  </a:schemeClr>
                </a:solidFill>
              </a:defRPr>
            </a:lvl3pPr>
            <a:lvl4pPr marL="1366342" indent="0">
              <a:buNone/>
              <a:defRPr sz="1594">
                <a:solidFill>
                  <a:schemeClr val="tx1">
                    <a:tint val="75000"/>
                  </a:schemeClr>
                </a:solidFill>
              </a:defRPr>
            </a:lvl4pPr>
            <a:lvl5pPr marL="1821789" indent="0">
              <a:buNone/>
              <a:defRPr sz="1594">
                <a:solidFill>
                  <a:schemeClr val="tx1">
                    <a:tint val="75000"/>
                  </a:schemeClr>
                </a:solidFill>
              </a:defRPr>
            </a:lvl5pPr>
            <a:lvl6pPr marL="2277236" indent="0">
              <a:buNone/>
              <a:defRPr sz="1594">
                <a:solidFill>
                  <a:schemeClr val="tx1">
                    <a:tint val="75000"/>
                  </a:schemeClr>
                </a:solidFill>
              </a:defRPr>
            </a:lvl6pPr>
            <a:lvl7pPr marL="2732683" indent="0">
              <a:buNone/>
              <a:defRPr sz="1594">
                <a:solidFill>
                  <a:schemeClr val="tx1">
                    <a:tint val="75000"/>
                  </a:schemeClr>
                </a:solidFill>
              </a:defRPr>
            </a:lvl7pPr>
            <a:lvl8pPr marL="3188129" indent="0">
              <a:buNone/>
              <a:defRPr sz="1594">
                <a:solidFill>
                  <a:schemeClr val="tx1">
                    <a:tint val="75000"/>
                  </a:schemeClr>
                </a:solidFill>
              </a:defRPr>
            </a:lvl8pPr>
            <a:lvl9pPr marL="3643577" indent="0">
              <a:buNone/>
              <a:defRPr sz="1594">
                <a:solidFill>
                  <a:schemeClr val="tx1">
                    <a:tint val="75000"/>
                  </a:schemeClr>
                </a:solidFill>
              </a:defRPr>
            </a:lvl9pPr>
          </a:lstStyle>
          <a:p>
            <a:pPr lvl="0"/>
            <a:r>
              <a:rPr lang="en-US"/>
              <a:t>Subheading, </a:t>
            </a:r>
            <a:br>
              <a:rPr lang="en-US"/>
            </a:br>
            <a:r>
              <a:rPr lang="en-US"/>
              <a:t>Poppins Light, 24</a:t>
            </a:r>
          </a:p>
        </p:txBody>
      </p:sp>
      <p:sp>
        <p:nvSpPr>
          <p:cNvPr id="16" name="Picture Placeholder 15">
            <a:extLst>
              <a:ext uri="{FF2B5EF4-FFF2-40B4-BE49-F238E27FC236}">
                <a16:creationId xmlns:a16="http://schemas.microsoft.com/office/drawing/2014/main" id="{DE93D489-21E9-45F8-809E-0B08DCF7801A}"/>
              </a:ext>
            </a:extLst>
          </p:cNvPr>
          <p:cNvSpPr>
            <a:spLocks noGrp="1" noChangeAspect="1"/>
          </p:cNvSpPr>
          <p:nvPr>
            <p:ph type="pic" sz="quarter" idx="14" hasCustomPrompt="1"/>
          </p:nvPr>
        </p:nvSpPr>
        <p:spPr bwMode="gray">
          <a:xfrm>
            <a:off x="5849046" y="497400"/>
            <a:ext cx="5839931" cy="5863936"/>
          </a:xfrm>
          <a:custGeom>
            <a:avLst/>
            <a:gdLst>
              <a:gd name="connsiteX0" fmla="*/ 2538131 w 5121346"/>
              <a:gd name="connsiteY0" fmla="*/ 0 h 5122800"/>
              <a:gd name="connsiteX1" fmla="*/ 2585466 w 5121346"/>
              <a:gd name="connsiteY1" fmla="*/ 0 h 5122800"/>
              <a:gd name="connsiteX2" fmla="*/ 2729128 w 5121346"/>
              <a:gd name="connsiteY2" fmla="*/ 10063 h 5122800"/>
              <a:gd name="connsiteX3" fmla="*/ 3327090 w 5121346"/>
              <a:gd name="connsiteY3" fmla="*/ 773428 h 5122800"/>
              <a:gd name="connsiteX4" fmla="*/ 3327090 w 5121346"/>
              <a:gd name="connsiteY4" fmla="*/ 1793241 h 5122800"/>
              <a:gd name="connsiteX5" fmla="*/ 4347030 w 5121346"/>
              <a:gd name="connsiteY5" fmla="*/ 1793241 h 5122800"/>
              <a:gd name="connsiteX6" fmla="*/ 5121346 w 5121346"/>
              <a:gd name="connsiteY6" fmla="*/ 2563367 h 5122800"/>
              <a:gd name="connsiteX7" fmla="*/ 4347030 w 5121346"/>
              <a:gd name="connsiteY7" fmla="*/ 3328545 h 5122800"/>
              <a:gd name="connsiteX8" fmla="*/ 3327218 w 5121346"/>
              <a:gd name="connsiteY8" fmla="*/ 3328545 h 5122800"/>
              <a:gd name="connsiteX9" fmla="*/ 3327218 w 5121346"/>
              <a:gd name="connsiteY9" fmla="*/ 4348484 h 5122800"/>
              <a:gd name="connsiteX10" fmla="*/ 2557090 w 5121346"/>
              <a:gd name="connsiteY10" fmla="*/ 5122800 h 5122800"/>
              <a:gd name="connsiteX11" fmla="*/ 1791912 w 5121346"/>
              <a:gd name="connsiteY11" fmla="*/ 4348484 h 5122800"/>
              <a:gd name="connsiteX12" fmla="*/ 1791912 w 5121346"/>
              <a:gd name="connsiteY12" fmla="*/ 3328545 h 5122800"/>
              <a:gd name="connsiteX13" fmla="*/ 771974 w 5121346"/>
              <a:gd name="connsiteY13" fmla="*/ 3328545 h 5122800"/>
              <a:gd name="connsiteX14" fmla="*/ 9364 w 5121346"/>
              <a:gd name="connsiteY14" fmla="*/ 2727351 h 5122800"/>
              <a:gd name="connsiteX15" fmla="*/ 0 w 5121346"/>
              <a:gd name="connsiteY15" fmla="*/ 2592331 h 5122800"/>
              <a:gd name="connsiteX16" fmla="*/ 0 w 5121346"/>
              <a:gd name="connsiteY16" fmla="*/ 2525001 h 5122800"/>
              <a:gd name="connsiteX17" fmla="*/ 9338 w 5121346"/>
              <a:gd name="connsiteY17" fmla="*/ 2391325 h 5122800"/>
              <a:gd name="connsiteX18" fmla="*/ 771974 w 5121346"/>
              <a:gd name="connsiteY18" fmla="*/ 1793241 h 5122800"/>
              <a:gd name="connsiteX19" fmla="*/ 1791912 w 5121346"/>
              <a:gd name="connsiteY19" fmla="*/ 1793241 h 5122800"/>
              <a:gd name="connsiteX20" fmla="*/ 1791912 w 5121346"/>
              <a:gd name="connsiteY20" fmla="*/ 773428 h 5122800"/>
              <a:gd name="connsiteX21" fmla="*/ 1791786 w 5121346"/>
              <a:gd name="connsiteY21" fmla="*/ 773428 h 5122800"/>
              <a:gd name="connsiteX22" fmla="*/ 2393065 w 5121346"/>
              <a:gd name="connsiteY22" fmla="*/ 10063 h 51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2800">
                <a:moveTo>
                  <a:pt x="2538131" y="0"/>
                </a:moveTo>
                <a:lnTo>
                  <a:pt x="2585466" y="0"/>
                </a:lnTo>
                <a:lnTo>
                  <a:pt x="2729128" y="10063"/>
                </a:lnTo>
                <a:cubicBezTo>
                  <a:pt x="3099481" y="64858"/>
                  <a:pt x="3327090" y="312821"/>
                  <a:pt x="3327090" y="773428"/>
                </a:cubicBezTo>
                <a:lnTo>
                  <a:pt x="3327090" y="1793241"/>
                </a:lnTo>
                <a:lnTo>
                  <a:pt x="4347030" y="1793241"/>
                </a:lnTo>
                <a:cubicBezTo>
                  <a:pt x="4872675" y="1793241"/>
                  <a:pt x="5121346" y="2090655"/>
                  <a:pt x="5121346" y="2563367"/>
                </a:cubicBezTo>
                <a:cubicBezTo>
                  <a:pt x="5121346" y="3031258"/>
                  <a:pt x="4873311" y="3328545"/>
                  <a:pt x="4347030" y="3328545"/>
                </a:cubicBezTo>
                <a:lnTo>
                  <a:pt x="3327218" y="3328545"/>
                </a:lnTo>
                <a:lnTo>
                  <a:pt x="3327218" y="4348484"/>
                </a:lnTo>
                <a:cubicBezTo>
                  <a:pt x="3327218" y="4874258"/>
                  <a:pt x="3029931" y="5122800"/>
                  <a:pt x="2557090" y="5122800"/>
                </a:cubicBezTo>
                <a:cubicBezTo>
                  <a:pt x="2089200" y="5122800"/>
                  <a:pt x="1791912" y="4874893"/>
                  <a:pt x="1791912" y="4348484"/>
                </a:cubicBezTo>
                <a:lnTo>
                  <a:pt x="1791912" y="3328545"/>
                </a:lnTo>
                <a:lnTo>
                  <a:pt x="771974" y="3328545"/>
                </a:lnTo>
                <a:cubicBezTo>
                  <a:pt x="311922" y="3328545"/>
                  <a:pt x="64125" y="3100935"/>
                  <a:pt x="9364" y="2727351"/>
                </a:cubicBezTo>
                <a:lnTo>
                  <a:pt x="0" y="2592331"/>
                </a:lnTo>
                <a:lnTo>
                  <a:pt x="0" y="2525001"/>
                </a:lnTo>
                <a:lnTo>
                  <a:pt x="9338" y="2391325"/>
                </a:lnTo>
                <a:cubicBezTo>
                  <a:pt x="63986" y="2020949"/>
                  <a:pt x="311366" y="1793241"/>
                  <a:pt x="771974" y="1793241"/>
                </a:cubicBezTo>
                <a:lnTo>
                  <a:pt x="1791912" y="1793241"/>
                </a:lnTo>
                <a:lnTo>
                  <a:pt x="1791912" y="773428"/>
                </a:lnTo>
                <a:lnTo>
                  <a:pt x="1791786" y="773428"/>
                </a:lnTo>
                <a:cubicBezTo>
                  <a:pt x="1791786" y="312821"/>
                  <a:pt x="2019397" y="64858"/>
                  <a:pt x="2393065" y="10063"/>
                </a:cubicBezTo>
                <a:close/>
              </a:path>
            </a:pathLst>
          </a:custGeom>
          <a:solidFill>
            <a:schemeClr val="bg1"/>
          </a:solidFill>
        </p:spPr>
        <p:txBody>
          <a:bodyPr wrap="square">
            <a:noAutofit/>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B052C1DA-1795-4710-A2F6-220293EA01D5}" type="slidenum">
              <a:rPr lang="nl-NL" smtClean="0"/>
              <a:t>‹nr.›</a:t>
            </a:fld>
            <a:endParaRPr lang="nl-NL"/>
          </a:p>
        </p:txBody>
      </p:sp>
      <p:pic>
        <p:nvPicPr>
          <p:cNvPr id="7" name="Picture 4" descr="Unite_Mercateo_logo stacked_white_RGB@5x">
            <a:extLst>
              <a:ext uri="{FF2B5EF4-FFF2-40B4-BE49-F238E27FC236}">
                <a16:creationId xmlns:a16="http://schemas.microsoft.com/office/drawing/2014/main" id="{04752807-0421-9B45-C08B-BEF0F815843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28797" y="172205"/>
            <a:ext cx="2704881" cy="137498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Unite_Mercateo_logo landscape_white_RGB@5x">
            <a:extLst>
              <a:ext uri="{FF2B5EF4-FFF2-40B4-BE49-F238E27FC236}">
                <a16:creationId xmlns:a16="http://schemas.microsoft.com/office/drawing/2014/main" id="{FC64D30E-E5C0-65A3-6C89-9E3BABF687E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2287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break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4A253AC-2162-4D58-BB0F-6A06A49936EB}"/>
              </a:ext>
            </a:extLst>
          </p:cNvPr>
          <p:cNvGraphicFramePr>
            <a:graphicFrameLocks noChangeAspect="1"/>
          </p:cNvGraphicFramePr>
          <p:nvPr>
            <p:custDataLst>
              <p:tags r:id="rId1"/>
            </p:custDataLst>
            <p:extLst>
              <p:ext uri="{D42A27DB-BD31-4B8C-83A1-F6EECF244321}">
                <p14:modId xmlns:p14="http://schemas.microsoft.com/office/powerpoint/2010/main" val="83123079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4A253AC-2162-4D58-BB0F-6A06A49936EB}"/>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p:cNvSpPr>
            <a:spLocks noGrp="1"/>
          </p:cNvSpPr>
          <p:nvPr>
            <p:ph type="title" hasCustomPrompt="1"/>
          </p:nvPr>
        </p:nvSpPr>
        <p:spPr bwMode="gray">
          <a:xfrm>
            <a:off x="492388" y="1666346"/>
            <a:ext cx="11205415" cy="717368"/>
          </a:xfrm>
        </p:spPr>
        <p:txBody>
          <a:bodyPr vert="horz" tIns="72000" anchor="t">
            <a:noAutofit/>
          </a:bodyPr>
          <a:lstStyle>
            <a:lvl1pPr rtl="0">
              <a:lnSpc>
                <a:spcPct val="100000"/>
              </a:lnSpc>
              <a:defRPr sz="4105">
                <a:solidFill>
                  <a:schemeClr val="bg2"/>
                </a:solidFill>
              </a:defRPr>
            </a:lvl1pPr>
          </a:lstStyle>
          <a:p>
            <a:r>
              <a:rPr lang="en-US"/>
              <a:t>Section title, Poppins Medium, 36pt</a:t>
            </a:r>
          </a:p>
        </p:txBody>
      </p:sp>
      <p:sp>
        <p:nvSpPr>
          <p:cNvPr id="3" name="Text Placeholder 2"/>
          <p:cNvSpPr>
            <a:spLocks noGrp="1"/>
          </p:cNvSpPr>
          <p:nvPr>
            <p:ph type="body" idx="1" hasCustomPrompt="1"/>
          </p:nvPr>
        </p:nvSpPr>
        <p:spPr bwMode="gray">
          <a:xfrm>
            <a:off x="492387" y="2355330"/>
            <a:ext cx="11205416" cy="1268294"/>
          </a:xfrm>
        </p:spPr>
        <p:txBody>
          <a:bodyPr>
            <a:noAutofit/>
          </a:bodyPr>
          <a:lstStyle>
            <a:lvl1pPr marL="0" indent="0" rtl="0">
              <a:lnSpc>
                <a:spcPct val="100000"/>
              </a:lnSpc>
              <a:spcBef>
                <a:spcPts val="0"/>
              </a:spcBef>
              <a:buNone/>
              <a:defRPr sz="4105">
                <a:solidFill>
                  <a:schemeClr val="bg2"/>
                </a:solidFill>
                <a:latin typeface="Poppins Light" panose="00000400000000000000" pitchFamily="2" charset="0"/>
                <a:cs typeface="Poppins Light" panose="00000400000000000000" pitchFamily="2" charset="0"/>
              </a:defRPr>
            </a:lvl1pPr>
            <a:lvl2pPr marL="455447" indent="0">
              <a:buNone/>
              <a:defRPr sz="1992">
                <a:solidFill>
                  <a:schemeClr val="tx1">
                    <a:tint val="75000"/>
                  </a:schemeClr>
                </a:solidFill>
              </a:defRPr>
            </a:lvl2pPr>
            <a:lvl3pPr marL="910894" indent="0">
              <a:buNone/>
              <a:defRPr sz="1793">
                <a:solidFill>
                  <a:schemeClr val="tx1">
                    <a:tint val="75000"/>
                  </a:schemeClr>
                </a:solidFill>
              </a:defRPr>
            </a:lvl3pPr>
            <a:lvl4pPr marL="1366342" indent="0">
              <a:buNone/>
              <a:defRPr sz="1594">
                <a:solidFill>
                  <a:schemeClr val="tx1">
                    <a:tint val="75000"/>
                  </a:schemeClr>
                </a:solidFill>
              </a:defRPr>
            </a:lvl4pPr>
            <a:lvl5pPr marL="1821789" indent="0">
              <a:buNone/>
              <a:defRPr sz="1594">
                <a:solidFill>
                  <a:schemeClr val="tx1">
                    <a:tint val="75000"/>
                  </a:schemeClr>
                </a:solidFill>
              </a:defRPr>
            </a:lvl5pPr>
            <a:lvl6pPr marL="2277236" indent="0">
              <a:buNone/>
              <a:defRPr sz="1594">
                <a:solidFill>
                  <a:schemeClr val="tx1">
                    <a:tint val="75000"/>
                  </a:schemeClr>
                </a:solidFill>
              </a:defRPr>
            </a:lvl6pPr>
            <a:lvl7pPr marL="2732683" indent="0">
              <a:buNone/>
              <a:defRPr sz="1594">
                <a:solidFill>
                  <a:schemeClr val="tx1">
                    <a:tint val="75000"/>
                  </a:schemeClr>
                </a:solidFill>
              </a:defRPr>
            </a:lvl7pPr>
            <a:lvl8pPr marL="3188129" indent="0">
              <a:buNone/>
              <a:defRPr sz="1594">
                <a:solidFill>
                  <a:schemeClr val="tx1">
                    <a:tint val="75000"/>
                  </a:schemeClr>
                </a:solidFill>
              </a:defRPr>
            </a:lvl8pPr>
            <a:lvl9pPr marL="3643577" indent="0">
              <a:buNone/>
              <a:defRPr sz="1594">
                <a:solidFill>
                  <a:schemeClr val="tx1">
                    <a:tint val="75000"/>
                  </a:schemeClr>
                </a:solidFill>
              </a:defRPr>
            </a:lvl9pPr>
          </a:lstStyle>
          <a:p>
            <a:pPr lvl="0"/>
            <a:r>
              <a:rPr lang="en-US"/>
              <a:t>Subheading, Poppins Light, 36p</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92387" y="496088"/>
            <a:ext cx="1623790" cy="298284"/>
          </a:xfrm>
        </p:spPr>
        <p:txBody>
          <a:bodyPr>
            <a:noAutofit/>
          </a:bodyPr>
          <a:lstStyle>
            <a:lvl1pPr rtl="0">
              <a:lnSpc>
                <a:spcPct val="110000"/>
              </a:lnSpc>
              <a:defRPr sz="1824">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pic>
        <p:nvPicPr>
          <p:cNvPr id="7" name="Picture 2" descr="Unite_Mercateo_logo landscape_white_RGB@5x">
            <a:extLst>
              <a:ext uri="{FF2B5EF4-FFF2-40B4-BE49-F238E27FC236}">
                <a16:creationId xmlns:a16="http://schemas.microsoft.com/office/drawing/2014/main" id="{238FC103-2841-F4C5-FA6E-E54C7507B03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93024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break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6A9F543-BB69-4A63-B785-B5FD956F3CF2}"/>
              </a:ext>
            </a:extLst>
          </p:cNvPr>
          <p:cNvGraphicFramePr>
            <a:graphicFrameLocks noChangeAspect="1"/>
          </p:cNvGraphicFramePr>
          <p:nvPr>
            <p:custDataLst>
              <p:tags r:id="rId1"/>
            </p:custDataLst>
            <p:extLst>
              <p:ext uri="{D42A27DB-BD31-4B8C-83A1-F6EECF244321}">
                <p14:modId xmlns:p14="http://schemas.microsoft.com/office/powerpoint/2010/main" val="419876018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F6A9F543-BB69-4A63-B785-B5FD956F3CF2}"/>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p:cNvSpPr>
            <a:spLocks noGrp="1"/>
          </p:cNvSpPr>
          <p:nvPr>
            <p:ph type="title" hasCustomPrompt="1"/>
          </p:nvPr>
        </p:nvSpPr>
        <p:spPr bwMode="gray">
          <a:xfrm>
            <a:off x="492389" y="1666346"/>
            <a:ext cx="5112129" cy="717368"/>
          </a:xfrm>
        </p:spPr>
        <p:txBody>
          <a:bodyPr vert="horz" tIns="72000" anchor="t">
            <a:noAutofit/>
          </a:bodyPr>
          <a:lstStyle>
            <a:lvl1pPr rtl="0">
              <a:lnSpc>
                <a:spcPct val="100000"/>
              </a:lnSpc>
              <a:defRPr sz="4105">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92388" y="2705730"/>
            <a:ext cx="5112129" cy="1268294"/>
          </a:xfrm>
        </p:spPr>
        <p:txBody>
          <a:bodyPr>
            <a:noAutofit/>
          </a:bodyPr>
          <a:lstStyle>
            <a:lvl1pPr marL="0" indent="0" rtl="0">
              <a:lnSpc>
                <a:spcPct val="100000"/>
              </a:lnSpc>
              <a:spcBef>
                <a:spcPts val="0"/>
              </a:spcBef>
              <a:buNone/>
              <a:defRPr sz="2737">
                <a:solidFill>
                  <a:schemeClr val="bg2"/>
                </a:solidFill>
                <a:latin typeface="Poppins Light" panose="00000400000000000000" pitchFamily="2" charset="0"/>
                <a:cs typeface="Poppins Light" panose="00000400000000000000" pitchFamily="2" charset="0"/>
              </a:defRPr>
            </a:lvl1pPr>
            <a:lvl2pPr marL="455447" indent="0">
              <a:buNone/>
              <a:defRPr sz="1992">
                <a:solidFill>
                  <a:schemeClr val="tx1">
                    <a:tint val="75000"/>
                  </a:schemeClr>
                </a:solidFill>
              </a:defRPr>
            </a:lvl2pPr>
            <a:lvl3pPr marL="910894" indent="0">
              <a:buNone/>
              <a:defRPr sz="1793">
                <a:solidFill>
                  <a:schemeClr val="tx1">
                    <a:tint val="75000"/>
                  </a:schemeClr>
                </a:solidFill>
              </a:defRPr>
            </a:lvl3pPr>
            <a:lvl4pPr marL="1366342" indent="0">
              <a:buNone/>
              <a:defRPr sz="1594">
                <a:solidFill>
                  <a:schemeClr val="tx1">
                    <a:tint val="75000"/>
                  </a:schemeClr>
                </a:solidFill>
              </a:defRPr>
            </a:lvl4pPr>
            <a:lvl5pPr marL="1821789" indent="0">
              <a:buNone/>
              <a:defRPr sz="1594">
                <a:solidFill>
                  <a:schemeClr val="tx1">
                    <a:tint val="75000"/>
                  </a:schemeClr>
                </a:solidFill>
              </a:defRPr>
            </a:lvl5pPr>
            <a:lvl6pPr marL="2277236" indent="0">
              <a:buNone/>
              <a:defRPr sz="1594">
                <a:solidFill>
                  <a:schemeClr val="tx1">
                    <a:tint val="75000"/>
                  </a:schemeClr>
                </a:solidFill>
              </a:defRPr>
            </a:lvl6pPr>
            <a:lvl7pPr marL="2732683" indent="0">
              <a:buNone/>
              <a:defRPr sz="1594">
                <a:solidFill>
                  <a:schemeClr val="tx1">
                    <a:tint val="75000"/>
                  </a:schemeClr>
                </a:solidFill>
              </a:defRPr>
            </a:lvl7pPr>
            <a:lvl8pPr marL="3188129" indent="0">
              <a:buNone/>
              <a:defRPr sz="1594">
                <a:solidFill>
                  <a:schemeClr val="tx1">
                    <a:tint val="75000"/>
                  </a:schemeClr>
                </a:solidFill>
              </a:defRPr>
            </a:lvl8pPr>
            <a:lvl9pPr marL="3643577" indent="0">
              <a:buNone/>
              <a:defRPr sz="1594">
                <a:solidFill>
                  <a:schemeClr val="tx1">
                    <a:tint val="75000"/>
                  </a:schemeClr>
                </a:solidFill>
              </a:defRPr>
            </a:lvl9pPr>
          </a:lstStyle>
          <a:p>
            <a:pPr lvl="0"/>
            <a:r>
              <a:rPr lang="en-US"/>
              <a:t>Subheading, </a:t>
            </a:r>
            <a:br>
              <a:rPr lang="en-US"/>
            </a:br>
            <a:r>
              <a:rPr lang="en-US"/>
              <a:t>Poppins Light, 24</a:t>
            </a:r>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92387" y="496088"/>
            <a:ext cx="1623790" cy="298284"/>
          </a:xfrm>
        </p:spPr>
        <p:txBody>
          <a:bodyPr>
            <a:noAutofit/>
          </a:bodyPr>
          <a:lstStyle>
            <a:lvl1pPr rtl="0">
              <a:lnSpc>
                <a:spcPct val="110000"/>
              </a:lnSpc>
              <a:defRPr sz="1824">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grpSp>
        <p:nvGrpSpPr>
          <p:cNvPr id="12" name="Group 11">
            <a:extLst>
              <a:ext uri="{FF2B5EF4-FFF2-40B4-BE49-F238E27FC236}">
                <a16:creationId xmlns:a16="http://schemas.microsoft.com/office/drawing/2014/main" id="{0AA63A26-5162-486A-970C-9CA77A97A6C4}"/>
              </a:ext>
            </a:extLst>
          </p:cNvPr>
          <p:cNvGrpSpPr/>
          <p:nvPr/>
        </p:nvGrpSpPr>
        <p:grpSpPr bwMode="gray">
          <a:xfrm>
            <a:off x="500531" y="6090685"/>
            <a:ext cx="1226443" cy="298486"/>
            <a:chOff x="438942" y="5320889"/>
            <a:chExt cx="1075533" cy="260761"/>
          </a:xfrm>
          <a:solidFill>
            <a:schemeClr val="bg2"/>
          </a:solidFill>
        </p:grpSpPr>
        <p:sp>
          <p:nvSpPr>
            <p:cNvPr id="13" name="Graphic 12">
              <a:extLst>
                <a:ext uri="{FF2B5EF4-FFF2-40B4-BE49-F238E27FC236}">
                  <a16:creationId xmlns:a16="http://schemas.microsoft.com/office/drawing/2014/main" id="{65B93322-E621-4924-8CD3-C27B1465B626}"/>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14" name="Graphic 12">
              <a:extLst>
                <a:ext uri="{FF2B5EF4-FFF2-40B4-BE49-F238E27FC236}">
                  <a16:creationId xmlns:a16="http://schemas.microsoft.com/office/drawing/2014/main" id="{EB5E4730-F93E-4D1A-B8FB-B2493C416171}"/>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
        <p:nvSpPr>
          <p:cNvPr id="9" name="Picture Placeholder 8">
            <a:extLst>
              <a:ext uri="{FF2B5EF4-FFF2-40B4-BE49-F238E27FC236}">
                <a16:creationId xmlns:a16="http://schemas.microsoft.com/office/drawing/2014/main" id="{B1ECA945-EF01-49AA-9BBE-588B98296654}"/>
              </a:ext>
            </a:extLst>
          </p:cNvPr>
          <p:cNvSpPr>
            <a:spLocks noGrp="1"/>
          </p:cNvSpPr>
          <p:nvPr>
            <p:ph type="pic" sz="quarter" idx="14" hasCustomPrompt="1"/>
          </p:nvPr>
        </p:nvSpPr>
        <p:spPr bwMode="gray">
          <a:xfrm>
            <a:off x="6096000" y="0"/>
            <a:ext cx="6096001" cy="6858001"/>
          </a:xfrm>
          <a:solidFill>
            <a:schemeClr val="bg1"/>
          </a:solidFill>
        </p:spPr>
        <p:txBody>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34534689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break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5790BA8-1EFC-499A-AB4F-6732B44AEA93}"/>
              </a:ext>
            </a:extLst>
          </p:cNvPr>
          <p:cNvGraphicFramePr>
            <a:graphicFrameLocks noChangeAspect="1"/>
          </p:cNvGraphicFramePr>
          <p:nvPr>
            <p:custDataLst>
              <p:tags r:id="rId1"/>
            </p:custDataLst>
            <p:extLst>
              <p:ext uri="{D42A27DB-BD31-4B8C-83A1-F6EECF244321}">
                <p14:modId xmlns:p14="http://schemas.microsoft.com/office/powerpoint/2010/main" val="170062158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5790BA8-1EFC-499A-AB4F-6732B44AEA93}"/>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2" name="Title 1"/>
          <p:cNvSpPr>
            <a:spLocks noGrp="1"/>
          </p:cNvSpPr>
          <p:nvPr>
            <p:ph type="title" hasCustomPrompt="1"/>
          </p:nvPr>
        </p:nvSpPr>
        <p:spPr bwMode="gray">
          <a:xfrm>
            <a:off x="492389" y="1666346"/>
            <a:ext cx="5112129" cy="717368"/>
          </a:xfrm>
        </p:spPr>
        <p:txBody>
          <a:bodyPr vert="horz" tIns="72000" anchor="t">
            <a:noAutofit/>
          </a:bodyPr>
          <a:lstStyle>
            <a:lvl1pPr rtl="0">
              <a:lnSpc>
                <a:spcPct val="100000"/>
              </a:lnSpc>
              <a:defRPr sz="4105">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92388" y="2705730"/>
            <a:ext cx="5112129" cy="1268294"/>
          </a:xfrm>
        </p:spPr>
        <p:txBody>
          <a:bodyPr>
            <a:noAutofit/>
          </a:bodyPr>
          <a:lstStyle>
            <a:lvl1pPr marL="0" indent="0" rtl="0">
              <a:lnSpc>
                <a:spcPct val="100000"/>
              </a:lnSpc>
              <a:spcBef>
                <a:spcPts val="0"/>
              </a:spcBef>
              <a:buNone/>
              <a:defRPr sz="2737">
                <a:solidFill>
                  <a:schemeClr val="bg2"/>
                </a:solidFill>
                <a:latin typeface="Poppins Light" panose="00000400000000000000" pitchFamily="2" charset="0"/>
                <a:cs typeface="Poppins Light" panose="00000400000000000000" pitchFamily="2" charset="0"/>
              </a:defRPr>
            </a:lvl1pPr>
            <a:lvl2pPr marL="455447" indent="0">
              <a:buNone/>
              <a:defRPr sz="1992">
                <a:solidFill>
                  <a:schemeClr val="tx1">
                    <a:tint val="75000"/>
                  </a:schemeClr>
                </a:solidFill>
              </a:defRPr>
            </a:lvl2pPr>
            <a:lvl3pPr marL="910894" indent="0">
              <a:buNone/>
              <a:defRPr sz="1793">
                <a:solidFill>
                  <a:schemeClr val="tx1">
                    <a:tint val="75000"/>
                  </a:schemeClr>
                </a:solidFill>
              </a:defRPr>
            </a:lvl3pPr>
            <a:lvl4pPr marL="1366342" indent="0">
              <a:buNone/>
              <a:defRPr sz="1594">
                <a:solidFill>
                  <a:schemeClr val="tx1">
                    <a:tint val="75000"/>
                  </a:schemeClr>
                </a:solidFill>
              </a:defRPr>
            </a:lvl4pPr>
            <a:lvl5pPr marL="1821789" indent="0">
              <a:buNone/>
              <a:defRPr sz="1594">
                <a:solidFill>
                  <a:schemeClr val="tx1">
                    <a:tint val="75000"/>
                  </a:schemeClr>
                </a:solidFill>
              </a:defRPr>
            </a:lvl5pPr>
            <a:lvl6pPr marL="2277236" indent="0">
              <a:buNone/>
              <a:defRPr sz="1594">
                <a:solidFill>
                  <a:schemeClr val="tx1">
                    <a:tint val="75000"/>
                  </a:schemeClr>
                </a:solidFill>
              </a:defRPr>
            </a:lvl6pPr>
            <a:lvl7pPr marL="2732683" indent="0">
              <a:buNone/>
              <a:defRPr sz="1594">
                <a:solidFill>
                  <a:schemeClr val="tx1">
                    <a:tint val="75000"/>
                  </a:schemeClr>
                </a:solidFill>
              </a:defRPr>
            </a:lvl7pPr>
            <a:lvl8pPr marL="3188129" indent="0">
              <a:buNone/>
              <a:defRPr sz="1594">
                <a:solidFill>
                  <a:schemeClr val="tx1">
                    <a:tint val="75000"/>
                  </a:schemeClr>
                </a:solidFill>
              </a:defRPr>
            </a:lvl8pPr>
            <a:lvl9pPr marL="3643577" indent="0">
              <a:buNone/>
              <a:defRPr sz="1594">
                <a:solidFill>
                  <a:schemeClr val="tx1">
                    <a:tint val="75000"/>
                  </a:schemeClr>
                </a:solidFill>
              </a:defRPr>
            </a:lvl9pPr>
          </a:lstStyle>
          <a:p>
            <a:pPr lvl="0"/>
            <a:r>
              <a:rPr lang="en-US"/>
              <a:t>Subheading, </a:t>
            </a:r>
            <a:br>
              <a:rPr lang="en-US"/>
            </a:br>
            <a:r>
              <a:rPr lang="en-US"/>
              <a:t>Poppins Light, 24</a:t>
            </a:r>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92387" y="496088"/>
            <a:ext cx="1623790" cy="298284"/>
          </a:xfrm>
        </p:spPr>
        <p:txBody>
          <a:bodyPr>
            <a:noAutofit/>
          </a:bodyPr>
          <a:lstStyle>
            <a:lvl1pPr rtl="0">
              <a:lnSpc>
                <a:spcPct val="110000"/>
              </a:lnSpc>
              <a:defRPr sz="1824">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sp>
        <p:nvSpPr>
          <p:cNvPr id="16" name="Picture Placeholder 15">
            <a:extLst>
              <a:ext uri="{FF2B5EF4-FFF2-40B4-BE49-F238E27FC236}">
                <a16:creationId xmlns:a16="http://schemas.microsoft.com/office/drawing/2014/main" id="{DE93D489-21E9-45F8-809E-0B08DCF7801A}"/>
              </a:ext>
            </a:extLst>
          </p:cNvPr>
          <p:cNvSpPr>
            <a:spLocks noGrp="1" noChangeAspect="1"/>
          </p:cNvSpPr>
          <p:nvPr>
            <p:ph type="pic" sz="quarter" idx="14" hasCustomPrompt="1"/>
          </p:nvPr>
        </p:nvSpPr>
        <p:spPr bwMode="gray">
          <a:xfrm>
            <a:off x="5849046" y="497400"/>
            <a:ext cx="5839931" cy="5863936"/>
          </a:xfrm>
          <a:custGeom>
            <a:avLst/>
            <a:gdLst>
              <a:gd name="connsiteX0" fmla="*/ 2538131 w 5121346"/>
              <a:gd name="connsiteY0" fmla="*/ 0 h 5122800"/>
              <a:gd name="connsiteX1" fmla="*/ 2585466 w 5121346"/>
              <a:gd name="connsiteY1" fmla="*/ 0 h 5122800"/>
              <a:gd name="connsiteX2" fmla="*/ 2729128 w 5121346"/>
              <a:gd name="connsiteY2" fmla="*/ 10063 h 5122800"/>
              <a:gd name="connsiteX3" fmla="*/ 3327090 w 5121346"/>
              <a:gd name="connsiteY3" fmla="*/ 773428 h 5122800"/>
              <a:gd name="connsiteX4" fmla="*/ 3327090 w 5121346"/>
              <a:gd name="connsiteY4" fmla="*/ 1793241 h 5122800"/>
              <a:gd name="connsiteX5" fmla="*/ 4347030 w 5121346"/>
              <a:gd name="connsiteY5" fmla="*/ 1793241 h 5122800"/>
              <a:gd name="connsiteX6" fmla="*/ 5121346 w 5121346"/>
              <a:gd name="connsiteY6" fmla="*/ 2563367 h 5122800"/>
              <a:gd name="connsiteX7" fmla="*/ 4347030 w 5121346"/>
              <a:gd name="connsiteY7" fmla="*/ 3328545 h 5122800"/>
              <a:gd name="connsiteX8" fmla="*/ 3327218 w 5121346"/>
              <a:gd name="connsiteY8" fmla="*/ 3328545 h 5122800"/>
              <a:gd name="connsiteX9" fmla="*/ 3327218 w 5121346"/>
              <a:gd name="connsiteY9" fmla="*/ 4348484 h 5122800"/>
              <a:gd name="connsiteX10" fmla="*/ 2557090 w 5121346"/>
              <a:gd name="connsiteY10" fmla="*/ 5122800 h 5122800"/>
              <a:gd name="connsiteX11" fmla="*/ 1791912 w 5121346"/>
              <a:gd name="connsiteY11" fmla="*/ 4348484 h 5122800"/>
              <a:gd name="connsiteX12" fmla="*/ 1791912 w 5121346"/>
              <a:gd name="connsiteY12" fmla="*/ 3328545 h 5122800"/>
              <a:gd name="connsiteX13" fmla="*/ 771974 w 5121346"/>
              <a:gd name="connsiteY13" fmla="*/ 3328545 h 5122800"/>
              <a:gd name="connsiteX14" fmla="*/ 9364 w 5121346"/>
              <a:gd name="connsiteY14" fmla="*/ 2727351 h 5122800"/>
              <a:gd name="connsiteX15" fmla="*/ 0 w 5121346"/>
              <a:gd name="connsiteY15" fmla="*/ 2592331 h 5122800"/>
              <a:gd name="connsiteX16" fmla="*/ 0 w 5121346"/>
              <a:gd name="connsiteY16" fmla="*/ 2525001 h 5122800"/>
              <a:gd name="connsiteX17" fmla="*/ 9338 w 5121346"/>
              <a:gd name="connsiteY17" fmla="*/ 2391325 h 5122800"/>
              <a:gd name="connsiteX18" fmla="*/ 771974 w 5121346"/>
              <a:gd name="connsiteY18" fmla="*/ 1793241 h 5122800"/>
              <a:gd name="connsiteX19" fmla="*/ 1791912 w 5121346"/>
              <a:gd name="connsiteY19" fmla="*/ 1793241 h 5122800"/>
              <a:gd name="connsiteX20" fmla="*/ 1791912 w 5121346"/>
              <a:gd name="connsiteY20" fmla="*/ 773428 h 5122800"/>
              <a:gd name="connsiteX21" fmla="*/ 1791786 w 5121346"/>
              <a:gd name="connsiteY21" fmla="*/ 773428 h 5122800"/>
              <a:gd name="connsiteX22" fmla="*/ 2393065 w 5121346"/>
              <a:gd name="connsiteY22" fmla="*/ 10063 h 51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2800">
                <a:moveTo>
                  <a:pt x="2538131" y="0"/>
                </a:moveTo>
                <a:lnTo>
                  <a:pt x="2585466" y="0"/>
                </a:lnTo>
                <a:lnTo>
                  <a:pt x="2729128" y="10063"/>
                </a:lnTo>
                <a:cubicBezTo>
                  <a:pt x="3099481" y="64858"/>
                  <a:pt x="3327090" y="312821"/>
                  <a:pt x="3327090" y="773428"/>
                </a:cubicBezTo>
                <a:lnTo>
                  <a:pt x="3327090" y="1793241"/>
                </a:lnTo>
                <a:lnTo>
                  <a:pt x="4347030" y="1793241"/>
                </a:lnTo>
                <a:cubicBezTo>
                  <a:pt x="4872675" y="1793241"/>
                  <a:pt x="5121346" y="2090655"/>
                  <a:pt x="5121346" y="2563367"/>
                </a:cubicBezTo>
                <a:cubicBezTo>
                  <a:pt x="5121346" y="3031258"/>
                  <a:pt x="4873311" y="3328545"/>
                  <a:pt x="4347030" y="3328545"/>
                </a:cubicBezTo>
                <a:lnTo>
                  <a:pt x="3327218" y="3328545"/>
                </a:lnTo>
                <a:lnTo>
                  <a:pt x="3327218" y="4348484"/>
                </a:lnTo>
                <a:cubicBezTo>
                  <a:pt x="3327218" y="4874258"/>
                  <a:pt x="3029931" y="5122800"/>
                  <a:pt x="2557090" y="5122800"/>
                </a:cubicBezTo>
                <a:cubicBezTo>
                  <a:pt x="2089200" y="5122800"/>
                  <a:pt x="1791912" y="4874893"/>
                  <a:pt x="1791912" y="4348484"/>
                </a:cubicBezTo>
                <a:lnTo>
                  <a:pt x="1791912" y="3328545"/>
                </a:lnTo>
                <a:lnTo>
                  <a:pt x="771974" y="3328545"/>
                </a:lnTo>
                <a:cubicBezTo>
                  <a:pt x="311922" y="3328545"/>
                  <a:pt x="64125" y="3100935"/>
                  <a:pt x="9364" y="2727351"/>
                </a:cubicBezTo>
                <a:lnTo>
                  <a:pt x="0" y="2592331"/>
                </a:lnTo>
                <a:lnTo>
                  <a:pt x="0" y="2525001"/>
                </a:lnTo>
                <a:lnTo>
                  <a:pt x="9338" y="2391325"/>
                </a:lnTo>
                <a:cubicBezTo>
                  <a:pt x="63986" y="2020949"/>
                  <a:pt x="311366" y="1793241"/>
                  <a:pt x="771974" y="1793241"/>
                </a:cubicBezTo>
                <a:lnTo>
                  <a:pt x="1791912" y="1793241"/>
                </a:lnTo>
                <a:lnTo>
                  <a:pt x="1791912" y="773428"/>
                </a:lnTo>
                <a:lnTo>
                  <a:pt x="1791786" y="773428"/>
                </a:lnTo>
                <a:cubicBezTo>
                  <a:pt x="1791786" y="312821"/>
                  <a:pt x="2019397" y="64858"/>
                  <a:pt x="2393065" y="10063"/>
                </a:cubicBezTo>
                <a:close/>
              </a:path>
            </a:pathLst>
          </a:custGeom>
          <a:solidFill>
            <a:schemeClr val="bg1"/>
          </a:solidFill>
        </p:spPr>
        <p:txBody>
          <a:bodyPr wrap="square">
            <a:noAutofit/>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pic>
        <p:nvPicPr>
          <p:cNvPr id="4" name="Picture 2" descr="Unite_Mercateo_logo landscape_white_RGB@5x">
            <a:extLst>
              <a:ext uri="{FF2B5EF4-FFF2-40B4-BE49-F238E27FC236}">
                <a16:creationId xmlns:a16="http://schemas.microsoft.com/office/drawing/2014/main" id="{8CA97879-985A-1344-9230-DE2C9DD76F4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2386" y="6107328"/>
            <a:ext cx="2362401" cy="628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59670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able of contents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FAAB248-F143-4CB5-9E53-46FF864AC56C}"/>
              </a:ext>
            </a:extLst>
          </p:cNvPr>
          <p:cNvGraphicFramePr>
            <a:graphicFrameLocks noChangeAspect="1"/>
          </p:cNvGraphicFramePr>
          <p:nvPr>
            <p:custDataLst>
              <p:tags r:id="rId1"/>
            </p:custDataLst>
            <p:extLst>
              <p:ext uri="{D42A27DB-BD31-4B8C-83A1-F6EECF244321}">
                <p14:modId xmlns:p14="http://schemas.microsoft.com/office/powerpoint/2010/main" val="362075149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FAAB248-F143-4CB5-9E53-46FF864AC56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92386" y="1666346"/>
            <a:ext cx="3537219" cy="1164217"/>
          </a:xfrm>
        </p:spPr>
        <p:txBody>
          <a:bodyPr>
            <a:noAutofit/>
          </a:bodyPr>
          <a:lstStyle>
            <a:lvl1pPr marL="246191" indent="-246191" rtl="0">
              <a:lnSpc>
                <a:spcPct val="120000"/>
              </a:lnSpc>
              <a:spcBef>
                <a:spcPts val="0"/>
              </a:spcBef>
              <a:spcAft>
                <a:spcPts val="684"/>
              </a:spcAft>
              <a:buFont typeface="+mj-lt"/>
              <a:buAutoNum type="arabicPeriod"/>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37182"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92386" y="3076106"/>
            <a:ext cx="3538615" cy="1166194"/>
          </a:xfrm>
        </p:spPr>
        <p:txBody>
          <a:bodyPr/>
          <a:lstStyle>
            <a:lvl1pPr marL="246305" indent="-246305" rtl="0">
              <a:lnSpc>
                <a:spcPct val="120000"/>
              </a:lnSpc>
              <a:spcBef>
                <a:spcPts val="0"/>
              </a:spcBef>
              <a:spcAft>
                <a:spcPts val="684"/>
              </a:spcAft>
              <a:buFont typeface="+mj-lt"/>
              <a:buAutoNum type="arabicPeriod" startAt="2"/>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marL="246305" indent="0" rtl="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92386" y="4487842"/>
            <a:ext cx="3538615" cy="1166194"/>
          </a:xfrm>
        </p:spPr>
        <p:txBody>
          <a:bodyPr/>
          <a:lstStyle>
            <a:lvl1pPr marL="246305" indent="-246305" rtl="0">
              <a:lnSpc>
                <a:spcPct val="120000"/>
              </a:lnSpc>
              <a:spcBef>
                <a:spcPts val="0"/>
              </a:spcBef>
              <a:spcAft>
                <a:spcPts val="684"/>
              </a:spcAft>
              <a:buFont typeface="+mj-lt"/>
              <a:buAutoNum type="arabicPeriod" startAt="3"/>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6248963" y="1666346"/>
            <a:ext cx="3538615" cy="1166194"/>
          </a:xfrm>
        </p:spPr>
        <p:txBody>
          <a:bodyPr/>
          <a:lstStyle>
            <a:lvl1pPr marL="246305" indent="-246305" rtl="0">
              <a:lnSpc>
                <a:spcPct val="120000"/>
              </a:lnSpc>
              <a:spcBef>
                <a:spcPts val="0"/>
              </a:spcBef>
              <a:spcAft>
                <a:spcPts val="684"/>
              </a:spcAft>
              <a:buFont typeface="+mj-lt"/>
              <a:buAutoNum type="arabicPeriod" startAt="4"/>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6248964" y="3076106"/>
            <a:ext cx="3538615" cy="1166194"/>
          </a:xfrm>
        </p:spPr>
        <p:txBody>
          <a:bodyPr/>
          <a:lstStyle>
            <a:lvl1pPr marL="246305" indent="-246305" rtl="0">
              <a:lnSpc>
                <a:spcPct val="120000"/>
              </a:lnSpc>
              <a:spcBef>
                <a:spcPts val="0"/>
              </a:spcBef>
              <a:spcAft>
                <a:spcPts val="684"/>
              </a:spcAft>
              <a:buFont typeface="+mj-lt"/>
              <a:buAutoNum type="arabicPeriod" startAt="5"/>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6248962" y="4487842"/>
            <a:ext cx="3538615" cy="1166194"/>
          </a:xfrm>
        </p:spPr>
        <p:txBody>
          <a:bodyPr/>
          <a:lstStyle>
            <a:lvl1pPr marL="246305" indent="-246305" rtl="0">
              <a:lnSpc>
                <a:spcPct val="120000"/>
              </a:lnSpc>
              <a:spcBef>
                <a:spcPts val="0"/>
              </a:spcBef>
              <a:spcAft>
                <a:spcPts val="684"/>
              </a:spcAft>
              <a:buFont typeface="+mj-lt"/>
              <a:buAutoNum type="arabicPeriod" startAt="6"/>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marL="246305"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Tree>
    <p:extLst>
      <p:ext uri="{BB962C8B-B14F-4D97-AF65-F5344CB8AC3E}">
        <p14:creationId xmlns:p14="http://schemas.microsoft.com/office/powerpoint/2010/main" val="15426465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able of contents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4D3056-49D2-4656-828C-D8DCEC523F2F}"/>
              </a:ext>
            </a:extLst>
          </p:cNvPr>
          <p:cNvGraphicFramePr>
            <a:graphicFrameLocks noChangeAspect="1"/>
          </p:cNvGraphicFramePr>
          <p:nvPr>
            <p:custDataLst>
              <p:tags r:id="rId1"/>
            </p:custDataLst>
            <p:extLst>
              <p:ext uri="{D42A27DB-BD31-4B8C-83A1-F6EECF244321}">
                <p14:modId xmlns:p14="http://schemas.microsoft.com/office/powerpoint/2010/main" val="69376921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4D3056-49D2-4656-828C-D8DCEC523F2F}"/>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B15B8CC-F173-4F93-ADD6-ABDCE3DEACCE}"/>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solidFill>
                  <a:schemeClr val="bg2"/>
                </a:solidFill>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92386" y="1666346"/>
            <a:ext cx="3537219" cy="1164217"/>
          </a:xfrm>
        </p:spPr>
        <p:txBody>
          <a:bodyPr>
            <a:noAutofit/>
          </a:bodyPr>
          <a:lstStyle>
            <a:lvl1pPr marL="246191" indent="-246191" rtl="0">
              <a:lnSpc>
                <a:spcPct val="120000"/>
              </a:lnSpc>
              <a:spcBef>
                <a:spcPts val="0"/>
              </a:spcBef>
              <a:spcAft>
                <a:spcPts val="684"/>
              </a:spcAft>
              <a:buFont typeface="+mj-lt"/>
              <a:buAutoNum type="arabicPeriod"/>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37182"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92386" y="3076106"/>
            <a:ext cx="3538615" cy="1166194"/>
          </a:xfrm>
        </p:spPr>
        <p:txBody>
          <a:bodyPr/>
          <a:lstStyle>
            <a:lvl1pPr marL="246305" indent="-246305" rtl="0">
              <a:lnSpc>
                <a:spcPct val="120000"/>
              </a:lnSpc>
              <a:spcBef>
                <a:spcPts val="0"/>
              </a:spcBef>
              <a:spcAft>
                <a:spcPts val="684"/>
              </a:spcAft>
              <a:buFont typeface="+mj-lt"/>
              <a:buAutoNum type="arabicPeriod" startAt="2"/>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marL="246305" indent="0" rtl="0">
              <a:buNone/>
              <a:defRPr>
                <a:solidFill>
                  <a:schemeClr val="bg2"/>
                </a:solidFill>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92386" y="4487842"/>
            <a:ext cx="3538615" cy="1166194"/>
          </a:xfrm>
        </p:spPr>
        <p:txBody>
          <a:bodyPr/>
          <a:lstStyle>
            <a:lvl1pPr marL="246305" indent="-246305" rtl="0">
              <a:lnSpc>
                <a:spcPct val="120000"/>
              </a:lnSpc>
              <a:spcBef>
                <a:spcPts val="0"/>
              </a:spcBef>
              <a:spcAft>
                <a:spcPts val="684"/>
              </a:spcAft>
              <a:buFont typeface="+mj-lt"/>
              <a:buAutoNum type="arabicPeriod" startAt="3"/>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6248963" y="1666346"/>
            <a:ext cx="3538615" cy="1166194"/>
          </a:xfrm>
        </p:spPr>
        <p:txBody>
          <a:bodyPr/>
          <a:lstStyle>
            <a:lvl1pPr marL="246305" indent="-246305" rtl="0">
              <a:lnSpc>
                <a:spcPct val="120000"/>
              </a:lnSpc>
              <a:spcBef>
                <a:spcPts val="0"/>
              </a:spcBef>
              <a:spcAft>
                <a:spcPts val="684"/>
              </a:spcAft>
              <a:buFont typeface="+mj-lt"/>
              <a:buAutoNum type="arabicPeriod" startAt="4"/>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6248964" y="3076106"/>
            <a:ext cx="3538615" cy="1166194"/>
          </a:xfrm>
        </p:spPr>
        <p:txBody>
          <a:bodyPr/>
          <a:lstStyle>
            <a:lvl1pPr marL="246305" indent="-246305" rtl="0">
              <a:lnSpc>
                <a:spcPct val="120000"/>
              </a:lnSpc>
              <a:spcBef>
                <a:spcPts val="0"/>
              </a:spcBef>
              <a:spcAft>
                <a:spcPts val="684"/>
              </a:spcAft>
              <a:buFont typeface="+mj-lt"/>
              <a:buAutoNum type="arabicPeriod" startAt="5"/>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6248962" y="4487842"/>
            <a:ext cx="3538615" cy="1166194"/>
          </a:xfrm>
        </p:spPr>
        <p:txBody>
          <a:bodyPr/>
          <a:lstStyle>
            <a:lvl1pPr marL="246305" indent="-246305" rtl="0">
              <a:lnSpc>
                <a:spcPct val="120000"/>
              </a:lnSpc>
              <a:spcBef>
                <a:spcPts val="0"/>
              </a:spcBef>
              <a:spcAft>
                <a:spcPts val="684"/>
              </a:spcAft>
              <a:buFont typeface="+mj-lt"/>
              <a:buAutoNum type="arabicPeriod" startAt="6"/>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marL="246305"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grpSp>
        <p:nvGrpSpPr>
          <p:cNvPr id="12" name="Group 11">
            <a:extLst>
              <a:ext uri="{FF2B5EF4-FFF2-40B4-BE49-F238E27FC236}">
                <a16:creationId xmlns:a16="http://schemas.microsoft.com/office/drawing/2014/main" id="{25F25578-D67B-4CDB-8606-0AD3B91B4862}"/>
              </a:ext>
            </a:extLst>
          </p:cNvPr>
          <p:cNvGrpSpPr/>
          <p:nvPr/>
        </p:nvGrpSpPr>
        <p:grpSpPr bwMode="gray">
          <a:xfrm>
            <a:off x="500531" y="6090685"/>
            <a:ext cx="1226443" cy="298486"/>
            <a:chOff x="438942" y="5320889"/>
            <a:chExt cx="1075533" cy="260761"/>
          </a:xfrm>
          <a:solidFill>
            <a:schemeClr val="bg2"/>
          </a:solidFill>
        </p:grpSpPr>
        <p:sp>
          <p:nvSpPr>
            <p:cNvPr id="14" name="Graphic 12">
              <a:extLst>
                <a:ext uri="{FF2B5EF4-FFF2-40B4-BE49-F238E27FC236}">
                  <a16:creationId xmlns:a16="http://schemas.microsoft.com/office/drawing/2014/main" id="{7A21869C-072A-4810-9282-6EA7876958D2}"/>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16" name="Graphic 12">
              <a:extLst>
                <a:ext uri="{FF2B5EF4-FFF2-40B4-BE49-F238E27FC236}">
                  <a16:creationId xmlns:a16="http://schemas.microsoft.com/office/drawing/2014/main" id="{B584173C-E33F-4B4F-B937-D58FEEF20A65}"/>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Tree>
    <p:extLst>
      <p:ext uri="{BB962C8B-B14F-4D97-AF65-F5344CB8AC3E}">
        <p14:creationId xmlns:p14="http://schemas.microsoft.com/office/powerpoint/2010/main" val="22135331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Quote/key statement 36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3BE524-9818-4F81-834E-589588FA87C0}"/>
              </a:ext>
            </a:extLst>
          </p:cNvPr>
          <p:cNvGraphicFramePr>
            <a:graphicFrameLocks noChangeAspect="1"/>
          </p:cNvGraphicFramePr>
          <p:nvPr>
            <p:custDataLst>
              <p:tags r:id="rId1"/>
            </p:custDataLst>
            <p:extLst>
              <p:ext uri="{D42A27DB-BD31-4B8C-83A1-F6EECF244321}">
                <p14:modId xmlns:p14="http://schemas.microsoft.com/office/powerpoint/2010/main" val="408159857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03BE524-9818-4F81-834E-589588FA87C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grpSp>
        <p:nvGrpSpPr>
          <p:cNvPr id="7" name="Group 6">
            <a:extLst>
              <a:ext uri="{FF2B5EF4-FFF2-40B4-BE49-F238E27FC236}">
                <a16:creationId xmlns:a16="http://schemas.microsoft.com/office/drawing/2014/main" id="{F4D9DAF6-E8DC-4CB7-8993-A7F77653C46E}"/>
              </a:ext>
            </a:extLst>
          </p:cNvPr>
          <p:cNvGrpSpPr/>
          <p:nvPr/>
        </p:nvGrpSpPr>
        <p:grpSpPr bwMode="gray">
          <a:xfrm>
            <a:off x="500531" y="6090685"/>
            <a:ext cx="1226443" cy="298486"/>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2233217" y="3356813"/>
            <a:ext cx="9464584" cy="1556008"/>
          </a:xfrm>
        </p:spPr>
        <p:txBody>
          <a:bodyPr>
            <a:noAutofit/>
          </a:bodyPr>
          <a:lstStyle>
            <a:lvl1pPr marL="206366" indent="-206366" rtl="0">
              <a:lnSpc>
                <a:spcPct val="100000"/>
              </a:lnSpc>
              <a:buClr>
                <a:schemeClr val="bg2"/>
              </a:buClr>
              <a:buFont typeface="Poppins Light" panose="00000400000000000000" pitchFamily="2" charset="0"/>
              <a:buChar char="“"/>
              <a:defRPr sz="4105" i="1">
                <a:solidFill>
                  <a:schemeClr val="bg2"/>
                </a:solidFill>
                <a:latin typeface="Poppins Light" panose="00000400000000000000" pitchFamily="2" charset="0"/>
                <a:cs typeface="Poppins Light" panose="00000400000000000000" pitchFamily="2" charset="0"/>
              </a:defRPr>
            </a:lvl1pPr>
            <a:lvl2pPr marL="188264" indent="0" rtl="0">
              <a:lnSpc>
                <a:spcPct val="100000"/>
              </a:lnSpc>
              <a:spcBef>
                <a:spcPts val="1140"/>
              </a:spcBef>
              <a:buFont typeface="Arial" panose="020B0604020202020204" pitchFamily="34" charset="0"/>
              <a:buNone/>
              <a:defRPr sz="912">
                <a:solidFill>
                  <a:schemeClr val="bg2"/>
                </a:solidFill>
              </a:defRPr>
            </a:lvl2pPr>
          </a:lstStyle>
          <a:p>
            <a:pPr lvl="0"/>
            <a:r>
              <a:rPr lang="en-US"/>
              <a:t>Insert quote or key statement </a:t>
            </a:r>
            <a:br>
              <a:rPr lang="en-US"/>
            </a:br>
            <a:r>
              <a:rPr lang="en-US"/>
              <a:t>here, Poppins light italic, 36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92386" y="1666347"/>
            <a:ext cx="2251485" cy="2261245"/>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3372565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Quote/key statement 24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DE4041B-2FD6-45E2-AD21-81C9A0950981}"/>
              </a:ext>
            </a:extLst>
          </p:cNvPr>
          <p:cNvGraphicFramePr>
            <a:graphicFrameLocks noChangeAspect="1"/>
          </p:cNvGraphicFramePr>
          <p:nvPr>
            <p:custDataLst>
              <p:tags r:id="rId1"/>
            </p:custDataLst>
            <p:extLst>
              <p:ext uri="{D42A27DB-BD31-4B8C-83A1-F6EECF244321}">
                <p14:modId xmlns:p14="http://schemas.microsoft.com/office/powerpoint/2010/main" val="118398686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DE4041B-2FD6-45E2-AD21-81C9A0950981}"/>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grpSp>
        <p:nvGrpSpPr>
          <p:cNvPr id="7" name="Group 6">
            <a:extLst>
              <a:ext uri="{FF2B5EF4-FFF2-40B4-BE49-F238E27FC236}">
                <a16:creationId xmlns:a16="http://schemas.microsoft.com/office/drawing/2014/main" id="{F4D9DAF6-E8DC-4CB7-8993-A7F77653C46E}"/>
              </a:ext>
            </a:extLst>
          </p:cNvPr>
          <p:cNvGrpSpPr/>
          <p:nvPr/>
        </p:nvGrpSpPr>
        <p:grpSpPr bwMode="gray">
          <a:xfrm>
            <a:off x="500531" y="6090685"/>
            <a:ext cx="1226443" cy="298486"/>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2233217" y="3356813"/>
            <a:ext cx="9464584" cy="1770914"/>
          </a:xfrm>
        </p:spPr>
        <p:txBody>
          <a:bodyPr>
            <a:noAutofit/>
          </a:bodyPr>
          <a:lstStyle>
            <a:lvl1pPr marL="152059" indent="-152059" rtl="0">
              <a:lnSpc>
                <a:spcPct val="110000"/>
              </a:lnSpc>
              <a:buClr>
                <a:schemeClr val="bg2"/>
              </a:buClr>
              <a:buFont typeface="Poppins Light" panose="00000400000000000000" pitchFamily="2" charset="0"/>
              <a:buChar char="“"/>
              <a:defRPr sz="2737" i="1">
                <a:solidFill>
                  <a:schemeClr val="bg2"/>
                </a:solidFill>
                <a:latin typeface="Poppins Light" panose="00000400000000000000" pitchFamily="2" charset="0"/>
                <a:cs typeface="Poppins Light" panose="00000400000000000000" pitchFamily="2" charset="0"/>
              </a:defRPr>
            </a:lvl1pPr>
            <a:lvl2pPr marL="133957" indent="0" rtl="0">
              <a:lnSpc>
                <a:spcPct val="100000"/>
              </a:lnSpc>
              <a:spcBef>
                <a:spcPts val="1824"/>
              </a:spcBef>
              <a:buFont typeface="Arial" panose="020B0604020202020204" pitchFamily="34" charset="0"/>
              <a:buNone/>
              <a:defRPr sz="912">
                <a:solidFill>
                  <a:schemeClr val="bg2"/>
                </a:solidFill>
              </a:defRPr>
            </a:lvl2pPr>
          </a:lstStyle>
          <a:p>
            <a:pPr lvl="0"/>
            <a:r>
              <a:rPr lang="en-US"/>
              <a:t>Insert quote or </a:t>
            </a:r>
            <a:br>
              <a:rPr lang="en-US"/>
            </a:br>
            <a:r>
              <a:rPr lang="en-US"/>
              <a:t>key statement here, </a:t>
            </a:r>
            <a:br>
              <a:rPr lang="en-US"/>
            </a:br>
            <a:r>
              <a:rPr lang="en-US"/>
              <a:t>Poppins light italic, 24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92386" y="1666347"/>
            <a:ext cx="2251485" cy="2261245"/>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22631872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key statement 36pt w/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2C23FE0-B8BB-42EF-AF5D-05663B0126C8}"/>
              </a:ext>
            </a:extLst>
          </p:cNvPr>
          <p:cNvGraphicFramePr>
            <a:graphicFrameLocks noChangeAspect="1"/>
          </p:cNvGraphicFramePr>
          <p:nvPr>
            <p:custDataLst>
              <p:tags r:id="rId1"/>
            </p:custDataLst>
            <p:extLst>
              <p:ext uri="{D42A27DB-BD31-4B8C-83A1-F6EECF244321}">
                <p14:modId xmlns:p14="http://schemas.microsoft.com/office/powerpoint/2010/main" val="45092646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2C23FE0-B8BB-42EF-AF5D-05663B0126C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grpSp>
        <p:nvGrpSpPr>
          <p:cNvPr id="7" name="Group 6">
            <a:extLst>
              <a:ext uri="{FF2B5EF4-FFF2-40B4-BE49-F238E27FC236}">
                <a16:creationId xmlns:a16="http://schemas.microsoft.com/office/drawing/2014/main" id="{F4D9DAF6-E8DC-4CB7-8993-A7F77653C46E}"/>
              </a:ext>
            </a:extLst>
          </p:cNvPr>
          <p:cNvGrpSpPr/>
          <p:nvPr/>
        </p:nvGrpSpPr>
        <p:grpSpPr bwMode="gray">
          <a:xfrm>
            <a:off x="500531" y="6090685"/>
            <a:ext cx="1226443" cy="298486"/>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92385" y="1666346"/>
            <a:ext cx="11205416" cy="2378097"/>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33520" indent="-233520" rtl="0">
              <a:lnSpc>
                <a:spcPct val="100000"/>
              </a:lnSpc>
              <a:buFont typeface="Poppins Light" panose="00000400000000000000" pitchFamily="2" charset="0"/>
              <a:buChar char="“"/>
              <a:defRPr sz="4105" i="1">
                <a:solidFill>
                  <a:schemeClr val="bg2"/>
                </a:solidFill>
                <a:latin typeface="Poppins Light" panose="00000400000000000000" pitchFamily="2" charset="0"/>
                <a:cs typeface="Poppins Light" panose="00000400000000000000" pitchFamily="2" charset="0"/>
              </a:defRPr>
            </a:lvl1pPr>
            <a:lvl2pPr marL="233520" indent="0" rtl="0">
              <a:lnSpc>
                <a:spcPct val="100000"/>
              </a:lnSpc>
              <a:spcBef>
                <a:spcPts val="1596"/>
              </a:spcBef>
              <a:buFont typeface="Arial" panose="020B0604020202020204" pitchFamily="34" charset="0"/>
              <a:buNone/>
              <a:defRPr sz="912">
                <a:solidFill>
                  <a:schemeClr val="bg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p:nvSpPr>
        <p:spPr bwMode="gray">
          <a:xfrm>
            <a:off x="492384" y="1666346"/>
            <a:ext cx="11205415" cy="2378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Tree>
    <p:extLst>
      <p:ext uri="{BB962C8B-B14F-4D97-AF65-F5344CB8AC3E}">
        <p14:creationId xmlns:p14="http://schemas.microsoft.com/office/powerpoint/2010/main" val="42146641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key statement 36pt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F2CA42-65A6-4625-92B9-0FA8353C8746}"/>
              </a:ext>
            </a:extLst>
          </p:cNvPr>
          <p:cNvGraphicFramePr>
            <a:graphicFrameLocks noChangeAspect="1"/>
          </p:cNvGraphicFramePr>
          <p:nvPr>
            <p:custDataLst>
              <p:tags r:id="rId1"/>
            </p:custDataLst>
            <p:extLst>
              <p:ext uri="{D42A27DB-BD31-4B8C-83A1-F6EECF244321}">
                <p14:modId xmlns:p14="http://schemas.microsoft.com/office/powerpoint/2010/main" val="160876388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7F2CA42-65A6-4625-92B9-0FA8353C874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92387" y="496088"/>
            <a:ext cx="11205416"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92385" y="1666346"/>
            <a:ext cx="11205416" cy="2378097"/>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33520" indent="-233520" rtl="0">
              <a:lnSpc>
                <a:spcPct val="100000"/>
              </a:lnSpc>
              <a:buFont typeface="Poppins Light" panose="00000400000000000000" pitchFamily="2" charset="0"/>
              <a:buChar char="“"/>
              <a:defRPr sz="4105" i="1">
                <a:solidFill>
                  <a:schemeClr val="tx2"/>
                </a:solidFill>
                <a:latin typeface="Poppins Light" panose="00000400000000000000" pitchFamily="2" charset="0"/>
                <a:cs typeface="Poppins Light" panose="00000400000000000000" pitchFamily="2" charset="0"/>
              </a:defRPr>
            </a:lvl1pPr>
            <a:lvl2pPr marL="233520" indent="0" rtl="0">
              <a:lnSpc>
                <a:spcPct val="100000"/>
              </a:lnSpc>
              <a:spcBef>
                <a:spcPts val="1596"/>
              </a:spcBef>
              <a:buFont typeface="Arial" panose="020B0604020202020204" pitchFamily="34" charset="0"/>
              <a:buNone/>
              <a:defRPr sz="912">
                <a:solidFill>
                  <a:schemeClr val="tx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p:nvSpPr>
        <p:spPr bwMode="gray">
          <a:xfrm>
            <a:off x="492384" y="1666346"/>
            <a:ext cx="11205415" cy="2378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Tree>
    <p:extLst>
      <p:ext uri="{BB962C8B-B14F-4D97-AF65-F5344CB8AC3E}">
        <p14:creationId xmlns:p14="http://schemas.microsoft.com/office/powerpoint/2010/main" val="13254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tatement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B3D9B7-C3C9-4EB3-8BC3-AA1D0521EF27}"/>
              </a:ext>
            </a:extLst>
          </p:cNvPr>
          <p:cNvGraphicFramePr>
            <a:graphicFrameLocks noChangeAspect="1"/>
          </p:cNvGraphicFramePr>
          <p:nvPr>
            <p:custDataLst>
              <p:tags r:id="rId1"/>
            </p:custDataLst>
            <p:extLst>
              <p:ext uri="{D42A27DB-BD31-4B8C-83A1-F6EECF244321}">
                <p14:modId xmlns:p14="http://schemas.microsoft.com/office/powerpoint/2010/main" val="3590864974"/>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CB3D9B7-C3C9-4EB3-8BC3-AA1D0521EF2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BCB599F0-7356-41FB-BB7B-BE03FABD1913}"/>
              </a:ext>
            </a:extLst>
          </p:cNvPr>
          <p:cNvSpPr>
            <a:spLocks noGrp="1"/>
          </p:cNvSpPr>
          <p:nvPr>
            <p:ph type="pic" sz="quarter" idx="12" hasCustomPrompt="1"/>
          </p:nvPr>
        </p:nvSpPr>
        <p:spPr bwMode="gray">
          <a:xfrm>
            <a:off x="-1" y="-1"/>
            <a:ext cx="12192000" cy="6858000"/>
          </a:xfrm>
          <a:solidFill>
            <a:schemeClr val="bg1"/>
          </a:solidFill>
        </p:spPr>
        <p:txBody>
          <a:bodyPr/>
          <a:lstStyle>
            <a:lvl1pPr rtl="0">
              <a:defRPr/>
            </a:lvl1pPr>
          </a:lstStyle>
          <a:p>
            <a:r>
              <a:rPr lang="en-US"/>
              <a:t> </a:t>
            </a:r>
          </a:p>
        </p:txBody>
      </p:sp>
      <p:sp>
        <p:nvSpPr>
          <p:cNvPr id="15" name="Text Placeholder 14">
            <a:extLst>
              <a:ext uri="{FF2B5EF4-FFF2-40B4-BE49-F238E27FC236}">
                <a16:creationId xmlns:a16="http://schemas.microsoft.com/office/drawing/2014/main" id="{579E1900-05A6-452A-A185-9E1BD82FC57B}"/>
              </a:ext>
            </a:extLst>
          </p:cNvPr>
          <p:cNvSpPr>
            <a:spLocks noGrp="1"/>
          </p:cNvSpPr>
          <p:nvPr>
            <p:ph type="body" sz="quarter" idx="13" hasCustomPrompt="1"/>
          </p:nvPr>
        </p:nvSpPr>
        <p:spPr bwMode="gray">
          <a:xfrm>
            <a:off x="500531" y="6092470"/>
            <a:ext cx="1227432" cy="296700"/>
          </a:xfrm>
          <a:blipFill>
            <a:blip r:embed="rId5">
              <a:extLst>
                <a:ext uri="{96DAC541-7B7A-43D3-8B79-37D633B846F1}">
                  <asvg:svgBlip xmlns:asvg="http://schemas.microsoft.com/office/drawing/2016/SVG/main" r:embed="rId6"/>
                </a:ext>
              </a:extLst>
            </a:blip>
            <a:stretch>
              <a:fillRect/>
            </a:stretch>
          </a:blipFill>
        </p:spPr>
        <p:txBody>
          <a:bodyPr/>
          <a:lstStyle>
            <a:lvl1pPr rtl="0">
              <a:defRPr>
                <a:solidFill>
                  <a:schemeClr val="bg2"/>
                </a:solidFill>
              </a:defRPr>
            </a:lvl1pPr>
          </a:lstStyle>
          <a:p>
            <a:pPr lvl="0"/>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4485787" cy="2578199"/>
          </a:xfrm>
        </p:spPr>
        <p:txBody>
          <a:bodyPr tIns="36000">
            <a:noAutofit/>
          </a:bodyPr>
          <a:lstStyle>
            <a:lvl1pPr rtl="0">
              <a:lnSpc>
                <a:spcPct val="100000"/>
              </a:lnSpc>
              <a:spcBef>
                <a:spcPts val="0"/>
              </a:spcBef>
              <a:defRPr sz="2737">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33027599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of contents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FAAB248-F143-4CB5-9E53-46FF864AC56C}"/>
              </a:ext>
            </a:extLst>
          </p:cNvPr>
          <p:cNvGraphicFramePr>
            <a:graphicFrameLocks noChangeAspect="1"/>
          </p:cNvGraphicFramePr>
          <p:nvPr>
            <p:custDataLst>
              <p:tags r:id="rId1"/>
            </p:custDataLst>
            <p:extLst>
              <p:ext uri="{D42A27DB-BD31-4B8C-83A1-F6EECF244321}">
                <p14:modId xmlns:p14="http://schemas.microsoft.com/office/powerpoint/2010/main" val="63677561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FAAB248-F143-4CB5-9E53-46FF864AC56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92386" y="1666346"/>
            <a:ext cx="3537219" cy="1164217"/>
          </a:xfrm>
        </p:spPr>
        <p:txBody>
          <a:bodyPr>
            <a:noAutofit/>
          </a:bodyPr>
          <a:lstStyle>
            <a:lvl1pPr marL="246191" indent="-246191" rtl="0">
              <a:lnSpc>
                <a:spcPct val="120000"/>
              </a:lnSpc>
              <a:spcBef>
                <a:spcPts val="0"/>
              </a:spcBef>
              <a:spcAft>
                <a:spcPts val="684"/>
              </a:spcAft>
              <a:buFont typeface="+mj-lt"/>
              <a:buAutoNum type="arabicPeriod"/>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37182"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92386" y="3076106"/>
            <a:ext cx="3538615" cy="1166194"/>
          </a:xfrm>
        </p:spPr>
        <p:txBody>
          <a:bodyPr/>
          <a:lstStyle>
            <a:lvl1pPr marL="246305" indent="-246305" rtl="0">
              <a:lnSpc>
                <a:spcPct val="120000"/>
              </a:lnSpc>
              <a:spcBef>
                <a:spcPts val="0"/>
              </a:spcBef>
              <a:spcAft>
                <a:spcPts val="684"/>
              </a:spcAft>
              <a:buFont typeface="+mj-lt"/>
              <a:buAutoNum type="arabicPeriod" startAt="2"/>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marL="246305" indent="0" rtl="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92386" y="4487842"/>
            <a:ext cx="3538615" cy="1166194"/>
          </a:xfrm>
        </p:spPr>
        <p:txBody>
          <a:bodyPr/>
          <a:lstStyle>
            <a:lvl1pPr marL="246305" indent="-246305" rtl="0">
              <a:lnSpc>
                <a:spcPct val="120000"/>
              </a:lnSpc>
              <a:spcBef>
                <a:spcPts val="0"/>
              </a:spcBef>
              <a:spcAft>
                <a:spcPts val="684"/>
              </a:spcAft>
              <a:buFont typeface="+mj-lt"/>
              <a:buAutoNum type="arabicPeriod" startAt="3"/>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6248963" y="1666346"/>
            <a:ext cx="3538615" cy="1166194"/>
          </a:xfrm>
        </p:spPr>
        <p:txBody>
          <a:bodyPr/>
          <a:lstStyle>
            <a:lvl1pPr marL="246305" indent="-246305" rtl="0">
              <a:lnSpc>
                <a:spcPct val="120000"/>
              </a:lnSpc>
              <a:spcBef>
                <a:spcPts val="0"/>
              </a:spcBef>
              <a:spcAft>
                <a:spcPts val="684"/>
              </a:spcAft>
              <a:buFont typeface="+mj-lt"/>
              <a:buAutoNum type="arabicPeriod" startAt="4"/>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6248964" y="3076106"/>
            <a:ext cx="3538615" cy="1166194"/>
          </a:xfrm>
        </p:spPr>
        <p:txBody>
          <a:bodyPr/>
          <a:lstStyle>
            <a:lvl1pPr marL="246305" indent="-246305" rtl="0">
              <a:lnSpc>
                <a:spcPct val="120000"/>
              </a:lnSpc>
              <a:spcBef>
                <a:spcPts val="0"/>
              </a:spcBef>
              <a:spcAft>
                <a:spcPts val="684"/>
              </a:spcAft>
              <a:buFont typeface="+mj-lt"/>
              <a:buAutoNum type="arabicPeriod" startAt="5"/>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6248962" y="4487842"/>
            <a:ext cx="3538615" cy="1166194"/>
          </a:xfrm>
        </p:spPr>
        <p:txBody>
          <a:bodyPr/>
          <a:lstStyle>
            <a:lvl1pPr marL="246305" indent="-246305" rtl="0">
              <a:lnSpc>
                <a:spcPct val="120000"/>
              </a:lnSpc>
              <a:spcBef>
                <a:spcPts val="0"/>
              </a:spcBef>
              <a:spcAft>
                <a:spcPts val="684"/>
              </a:spcAft>
              <a:buFont typeface="+mj-lt"/>
              <a:buAutoNum type="arabicPeriod" startAt="6"/>
              <a:defRPr sz="1824">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latin typeface="+mn-lt"/>
                <a:cs typeface="Poppins Light" panose="00000400000000000000" pitchFamily="2" charset="0"/>
              </a:defRPr>
            </a:lvl2pPr>
            <a:lvl3pPr marL="246305"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Tree>
    <p:extLst>
      <p:ext uri="{BB962C8B-B14F-4D97-AF65-F5344CB8AC3E}">
        <p14:creationId xmlns:p14="http://schemas.microsoft.com/office/powerpoint/2010/main" val="27858417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tatement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0CF005-A037-4AEC-9FC7-BFB4D97C0E40}"/>
              </a:ext>
            </a:extLst>
          </p:cNvPr>
          <p:cNvGraphicFramePr>
            <a:graphicFrameLocks noChangeAspect="1"/>
          </p:cNvGraphicFramePr>
          <p:nvPr>
            <p:custDataLst>
              <p:tags r:id="rId1"/>
            </p:custDataLst>
            <p:extLst>
              <p:ext uri="{D42A27DB-BD31-4B8C-83A1-F6EECF244321}">
                <p14:modId xmlns:p14="http://schemas.microsoft.com/office/powerpoint/2010/main" val="311660362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0CF005-A037-4AEC-9FC7-BFB4D97C0E4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857013" y="496089"/>
            <a:ext cx="5839930" cy="5865247"/>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4485787" cy="2578199"/>
          </a:xfrm>
        </p:spPr>
        <p:txBody>
          <a:bodyPr tIns="36000">
            <a:noAutofit/>
          </a:bodyPr>
          <a:lstStyle>
            <a:lvl1pPr rtl="0">
              <a:lnSpc>
                <a:spcPct val="100000"/>
              </a:lnSpc>
              <a:defRPr sz="2737">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264234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tatement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B767E7-4D99-43CF-B261-15DD1B1C5F37}"/>
              </a:ext>
            </a:extLst>
          </p:cNvPr>
          <p:cNvGraphicFramePr>
            <a:graphicFrameLocks noChangeAspect="1"/>
          </p:cNvGraphicFramePr>
          <p:nvPr>
            <p:custDataLst>
              <p:tags r:id="rId1"/>
            </p:custDataLst>
            <p:extLst>
              <p:ext uri="{D42A27DB-BD31-4B8C-83A1-F6EECF244321}">
                <p14:modId xmlns:p14="http://schemas.microsoft.com/office/powerpoint/2010/main" val="222437274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B767E7-4D99-43CF-B261-15DD1B1C5F3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4315624" y="-1"/>
            <a:ext cx="7876373" cy="6858000"/>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8" y="496088"/>
            <a:ext cx="3823237"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3529978" cy="2578199"/>
          </a:xfrm>
        </p:spPr>
        <p:txBody>
          <a:bodyPr tIns="36000">
            <a:noAutofit/>
          </a:bodyPr>
          <a:lstStyle>
            <a:lvl1pPr rtl="0">
              <a:lnSpc>
                <a:spcPct val="100000"/>
              </a:lnSpc>
              <a:defRPr sz="2737">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17294589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tatement w/ image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2BBB7B2-19ED-40A4-8909-CE8FA6C90BB4}"/>
              </a:ext>
            </a:extLst>
          </p:cNvPr>
          <p:cNvGraphicFramePr>
            <a:graphicFrameLocks noChangeAspect="1"/>
          </p:cNvGraphicFramePr>
          <p:nvPr>
            <p:custDataLst>
              <p:tags r:id="rId1"/>
            </p:custDataLst>
            <p:extLst>
              <p:ext uri="{D42A27DB-BD31-4B8C-83A1-F6EECF244321}">
                <p14:modId xmlns:p14="http://schemas.microsoft.com/office/powerpoint/2010/main" val="308282916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2BBB7B2-19ED-40A4-8909-CE8FA6C90BB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036013C-F56D-4627-932D-FB90CE5639C9}"/>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4315624" y="-1"/>
            <a:ext cx="7876373" cy="6858000"/>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8" y="496088"/>
            <a:ext cx="3823237"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3529978" cy="2578199"/>
          </a:xfrm>
        </p:spPr>
        <p:txBody>
          <a:bodyPr tIns="36000">
            <a:noAutofit/>
          </a:bodyPr>
          <a:lstStyle>
            <a:lvl1pPr rtl="0">
              <a:lnSpc>
                <a:spcPct val="100000"/>
              </a:lnSpc>
              <a:defRPr sz="2737">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pic>
        <p:nvPicPr>
          <p:cNvPr id="3" name="Picture 2" descr="Unite_Mercateo_logo landscape_white_RGB@5x">
            <a:extLst>
              <a:ext uri="{FF2B5EF4-FFF2-40B4-BE49-F238E27FC236}">
                <a16:creationId xmlns:a16="http://schemas.microsoft.com/office/drawing/2014/main" id="{F513FF8B-5F5C-7C1D-5CBA-4AFEAF1DBE8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2386" y="6107328"/>
            <a:ext cx="2362401" cy="628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96283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tatement w/ image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49F3050-EBD2-4AC5-8DFA-F40F00887464}"/>
              </a:ext>
            </a:extLst>
          </p:cNvPr>
          <p:cNvGraphicFramePr>
            <a:graphicFrameLocks noChangeAspect="1"/>
          </p:cNvGraphicFramePr>
          <p:nvPr>
            <p:custDataLst>
              <p:tags r:id="rId1"/>
            </p:custDataLst>
            <p:extLst>
              <p:ext uri="{D42A27DB-BD31-4B8C-83A1-F6EECF244321}">
                <p14:modId xmlns:p14="http://schemas.microsoft.com/office/powerpoint/2010/main" val="284666134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D49F3050-EBD2-4AC5-8DFA-F40F0088746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p:cNvSpPr>
          <p:nvPr>
            <p:ph type="pic" sz="quarter" idx="15" hasCustomPrompt="1"/>
          </p:nvPr>
        </p:nvSpPr>
        <p:spPr bwMode="gray">
          <a:xfrm>
            <a:off x="6096000" y="-1"/>
            <a:ext cx="6095997" cy="6858000"/>
          </a:xfrm>
          <a:prstGeom prst="rect">
            <a:avLst/>
          </a:pr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92388" y="496088"/>
            <a:ext cx="4773616" cy="628128"/>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6"/>
            <a:ext cx="4773616" cy="2578199"/>
          </a:xfrm>
        </p:spPr>
        <p:txBody>
          <a:bodyPr tIns="36000">
            <a:noAutofit/>
          </a:bodyPr>
          <a:lstStyle>
            <a:lvl1pPr rtl="0">
              <a:lnSpc>
                <a:spcPct val="100000"/>
              </a:lnSpc>
              <a:defRPr sz="2737">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737">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7433511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Intro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6BB1A2-65B3-49CA-A294-F2D75772B5DD}"/>
              </a:ext>
            </a:extLst>
          </p:cNvPr>
          <p:cNvGraphicFramePr>
            <a:graphicFrameLocks noChangeAspect="1"/>
          </p:cNvGraphicFramePr>
          <p:nvPr>
            <p:custDataLst>
              <p:tags r:id="rId1"/>
            </p:custDataLst>
            <p:extLst>
              <p:ext uri="{D42A27DB-BD31-4B8C-83A1-F6EECF244321}">
                <p14:modId xmlns:p14="http://schemas.microsoft.com/office/powerpoint/2010/main" val="241362027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C6BB1A2-65B3-49CA-A294-F2D75772B5DD}"/>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2C60DCE-4E2E-4F05-9D59-183520E6C971}"/>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99628" y="1666345"/>
            <a:ext cx="11205416" cy="4121342"/>
          </a:xfrm>
        </p:spPr>
        <p:txBody>
          <a:bodyPr tIns="36000">
            <a:noAutofit/>
          </a:bodyPr>
          <a:lstStyle>
            <a:lvl1pPr rtl="0">
              <a:lnSpc>
                <a:spcPct val="100000"/>
              </a:lnSpc>
              <a:defRPr sz="2737">
                <a:solidFill>
                  <a:schemeClr val="bg2"/>
                </a:solidFill>
                <a:latin typeface="Poppins Light" panose="00000400000000000000" pitchFamily="2" charset="0"/>
                <a:cs typeface="Poppins Light" panose="00000400000000000000" pitchFamily="2" charset="0"/>
              </a:defRPr>
            </a:lvl1pPr>
            <a:lvl2pPr marL="0" indent="0">
              <a:lnSpc>
                <a:spcPct val="100000"/>
              </a:lnSpc>
              <a:spcBef>
                <a:spcPts val="0"/>
              </a:spcBef>
              <a:buFont typeface="Arial" panose="020B0604020202020204" pitchFamily="34" charset="0"/>
              <a:buNone/>
              <a:defRPr sz="2737">
                <a:solidFill>
                  <a:schemeClr val="bg1"/>
                </a:solidFill>
                <a:latin typeface="Poppins Light" panose="00000400000000000000" pitchFamily="2" charset="0"/>
                <a:cs typeface="Poppins Light" panose="00000400000000000000" pitchFamily="2" charset="0"/>
              </a:defRPr>
            </a:lvl2pPr>
          </a:lstStyle>
          <a:p>
            <a:pPr lvl="0"/>
            <a:r>
              <a:rPr lang="en-US"/>
              <a:t>Intro text, Poppins Light, 24pt</a:t>
            </a:r>
          </a:p>
        </p:txBody>
      </p:sp>
      <p:grpSp>
        <p:nvGrpSpPr>
          <p:cNvPr id="7" name="Group 6">
            <a:extLst>
              <a:ext uri="{FF2B5EF4-FFF2-40B4-BE49-F238E27FC236}">
                <a16:creationId xmlns:a16="http://schemas.microsoft.com/office/drawing/2014/main" id="{523C8E2E-0885-4EDF-AEB7-F857211E0264}"/>
              </a:ext>
            </a:extLst>
          </p:cNvPr>
          <p:cNvGrpSpPr/>
          <p:nvPr/>
        </p:nvGrpSpPr>
        <p:grpSpPr bwMode="gray">
          <a:xfrm>
            <a:off x="500531" y="6090685"/>
            <a:ext cx="1226443" cy="298486"/>
            <a:chOff x="438942" y="5320889"/>
            <a:chExt cx="1075533" cy="260761"/>
          </a:xfrm>
          <a:solidFill>
            <a:schemeClr val="bg2"/>
          </a:solidFill>
        </p:grpSpPr>
        <p:sp>
          <p:nvSpPr>
            <p:cNvPr id="8" name="Graphic 12">
              <a:extLst>
                <a:ext uri="{FF2B5EF4-FFF2-40B4-BE49-F238E27FC236}">
                  <a16:creationId xmlns:a16="http://schemas.microsoft.com/office/drawing/2014/main" id="{BF4168CF-569E-4591-9B5A-02B806C9E0BB}"/>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10" name="Graphic 12">
              <a:extLst>
                <a:ext uri="{FF2B5EF4-FFF2-40B4-BE49-F238E27FC236}">
                  <a16:creationId xmlns:a16="http://schemas.microsoft.com/office/drawing/2014/main" id="{E73C5DB7-0662-4600-9094-623CB021878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Tree>
    <p:extLst>
      <p:ext uri="{BB962C8B-B14F-4D97-AF65-F5344CB8AC3E}">
        <p14:creationId xmlns:p14="http://schemas.microsoft.com/office/powerpoint/2010/main" val="35694247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p:custDataLst>
              <p:tags r:id="rId1"/>
            </p:custDataLst>
            <p:extLst>
              <p:ext uri="{D42A27DB-BD31-4B8C-83A1-F6EECF244321}">
                <p14:modId xmlns:p14="http://schemas.microsoft.com/office/powerpoint/2010/main" val="384360514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46305" indent="-246305" rtl="0">
              <a:lnSpc>
                <a:spcPct val="113000"/>
              </a:lnSpc>
              <a:spcBef>
                <a:spcPts val="912"/>
              </a:spcBef>
              <a:buClr>
                <a:schemeClr val="tx1"/>
              </a:buClr>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1pPr>
            <a:lvl2pPr marL="492610" indent="-246305" rtl="0">
              <a:lnSpc>
                <a:spcPct val="113000"/>
              </a:lnSpc>
              <a:spcBef>
                <a:spcPts val="684"/>
              </a:spcBef>
              <a:buClr>
                <a:schemeClr val="tx1"/>
              </a:buClr>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2pPr>
            <a:lvl3pPr marL="738914" indent="-246305" rtl="0">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3pPr>
            <a:lvl4pPr marL="985219" indent="-246305" rtl="0">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4pPr>
            <a:lvl5pPr marL="1231524" indent="-246305" rtl="0">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5pPr>
            <a:lvl6pPr marL="1477829"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6pPr>
            <a:lvl7pPr marL="1724134"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7pPr>
            <a:lvl8pPr marL="1970438"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8pPr>
            <a:lvl9pPr marL="2216743" indent="-246305">
              <a:lnSpc>
                <a:spcPct val="113000"/>
              </a:lnSpc>
              <a:spcBef>
                <a:spcPts val="684"/>
              </a:spcBef>
              <a:buSzPct val="100000"/>
              <a:buFont typeface="UniteFont" panose="02000509000000000000" pitchFamily="49" charset="0"/>
              <a:buChar char="&gt;"/>
              <a:defRPr sz="1824">
                <a:latin typeface="Poppins Light" panose="00000400000000000000" pitchFamily="2" charset="0"/>
                <a:cs typeface="Poppins Light" panose="00000400000000000000" pitchFamily="2" charset="0"/>
              </a:defRPr>
            </a:lvl9pPr>
          </a:lstStyle>
          <a:p>
            <a:pPr lvl="0"/>
            <a:r>
              <a:rPr lang="en-US"/>
              <a:t>First level, Poppins Light, 16pt</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39351148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enefits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p:custDataLst>
              <p:tags r:id="rId1"/>
            </p:custDataLst>
            <p:extLst>
              <p:ext uri="{D42A27DB-BD31-4B8C-83A1-F6EECF244321}">
                <p14:modId xmlns:p14="http://schemas.microsoft.com/office/powerpoint/2010/main" val="185065679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46305" indent="-246305" rtl="0">
              <a:lnSpc>
                <a:spcPct val="113000"/>
              </a:lnSpc>
              <a:spcBef>
                <a:spcPts val="912"/>
              </a:spcBef>
              <a:buClr>
                <a:schemeClr val="tx1"/>
              </a:buClr>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1pPr>
            <a:lvl2pPr marL="492610"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2pPr>
            <a:lvl3pPr marL="738914"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3pPr>
            <a:lvl4pPr marL="985219"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4pPr>
            <a:lvl5pPr marL="1231524" indent="-246305" rtl="0">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5pPr>
            <a:lvl6pPr marL="1477829"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6pPr>
            <a:lvl7pPr marL="1724134"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7pPr>
            <a:lvl8pPr marL="1970438"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8pPr>
            <a:lvl9pPr marL="2216743" indent="-246305">
              <a:lnSpc>
                <a:spcPct val="113000"/>
              </a:lnSpc>
              <a:spcBef>
                <a:spcPts val="684"/>
              </a:spcBef>
              <a:buSzPct val="100000"/>
              <a:buFont typeface="UniteFont" panose="02000509000000000000" pitchFamily="49" charset="0"/>
              <a:buChar char="+"/>
              <a:defRPr sz="1824">
                <a:latin typeface="Poppins Light" panose="00000400000000000000" pitchFamily="2" charset="0"/>
                <a:cs typeface="Poppins Light" panose="00000400000000000000" pitchFamily="2" charset="0"/>
              </a:defRPr>
            </a:lvl9pPr>
          </a:lstStyle>
          <a:p>
            <a:pPr lvl="0"/>
            <a:r>
              <a:rPr lang="en-US"/>
              <a:t>First level, Poppins Light, 16pt, "+" used for benefits only</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14506654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p:custDataLst>
              <p:tags r:id="rId1"/>
            </p:custDataLst>
            <p:extLst>
              <p:ext uri="{D42A27DB-BD31-4B8C-83A1-F6EECF244321}">
                <p14:modId xmlns:p14="http://schemas.microsoft.com/office/powerpoint/2010/main" val="34377255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29498714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ody copy 1 column white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4E9AD6C-4F8A-4F2B-9518-C48344A462E7}"/>
              </a:ext>
            </a:extLst>
          </p:cNvPr>
          <p:cNvGraphicFramePr>
            <a:graphicFrameLocks noChangeAspect="1"/>
          </p:cNvGraphicFramePr>
          <p:nvPr>
            <p:custDataLst>
              <p:tags r:id="rId1"/>
            </p:custDataLst>
            <p:extLst>
              <p:ext uri="{D42A27DB-BD31-4B8C-83A1-F6EECF244321}">
                <p14:modId xmlns:p14="http://schemas.microsoft.com/office/powerpoint/2010/main" val="343828362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4E9AD6C-4F8A-4F2B-9518-C48344A462E7}"/>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6096000" y="1"/>
            <a:ext cx="6096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112130"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9" y="1666345"/>
            <a:ext cx="5112130"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0"/>
              </a:spcBef>
              <a:defRPr/>
            </a:lvl3pPr>
            <a:lvl4pPr marL="492610" indent="-246305" rtl="0">
              <a:defRPr/>
            </a:lvl4pPr>
            <a:lvl5pPr marL="738914" rtl="0">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71286441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ody copy 1 column gradient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F77DFB-AA05-4898-90FC-4F4CECF6CDFD}"/>
              </a:ext>
            </a:extLst>
          </p:cNvPr>
          <p:cNvGraphicFramePr>
            <a:graphicFrameLocks noChangeAspect="1"/>
          </p:cNvGraphicFramePr>
          <p:nvPr>
            <p:custDataLst>
              <p:tags r:id="rId1"/>
            </p:custDataLst>
            <p:extLst>
              <p:ext uri="{D42A27DB-BD31-4B8C-83A1-F6EECF244321}">
                <p14:modId xmlns:p14="http://schemas.microsoft.com/office/powerpoint/2010/main" val="106189758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F77DFB-AA05-4898-90FC-4F4CECF6CDFD}"/>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0B5FF55-7645-4204-9035-F839556D85C1}"/>
              </a:ext>
            </a:extLst>
          </p:cNvPr>
          <p:cNvSpPr/>
          <p:nvPr/>
        </p:nvSpPr>
        <p:spPr bwMode="gray">
          <a:xfrm>
            <a:off x="1" y="1"/>
            <a:ext cx="6095999"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6096000" y="1"/>
            <a:ext cx="6096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112130"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9" y="1666345"/>
            <a:ext cx="5112130" cy="4121342"/>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46305" indent="-246305" rtl="0">
              <a:spcBef>
                <a:spcPts val="0"/>
              </a:spcBef>
              <a:buFontTx/>
              <a:buBlip>
                <a:blip r:embed="rId5"/>
              </a:buBlip>
              <a:defRPr>
                <a:solidFill>
                  <a:schemeClr val="bg2"/>
                </a:solidFill>
              </a:defRPr>
            </a:lvl3pPr>
            <a:lvl4pPr marL="492610" indent="-246305" rtl="0">
              <a:buFontTx/>
              <a:buBlip>
                <a:blip r:embed="rId5"/>
              </a:buBlip>
              <a:defRPr>
                <a:solidFill>
                  <a:schemeClr val="bg2"/>
                </a:solidFill>
              </a:defRPr>
            </a:lvl4pPr>
            <a:lvl5pPr marL="738914" indent="-246305" rtl="0">
              <a:buFontTx/>
              <a:buBlip>
                <a:blip r:embed="rId5"/>
              </a:buBlip>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grpSp>
        <p:nvGrpSpPr>
          <p:cNvPr id="9" name="Group 8">
            <a:extLst>
              <a:ext uri="{FF2B5EF4-FFF2-40B4-BE49-F238E27FC236}">
                <a16:creationId xmlns:a16="http://schemas.microsoft.com/office/drawing/2014/main" id="{AD4E02BC-3700-46DA-9CC6-4D88C897CED2}"/>
              </a:ext>
            </a:extLst>
          </p:cNvPr>
          <p:cNvGrpSpPr/>
          <p:nvPr/>
        </p:nvGrpSpPr>
        <p:grpSpPr bwMode="gray">
          <a:xfrm>
            <a:off x="500531" y="6090685"/>
            <a:ext cx="1226443" cy="298486"/>
            <a:chOff x="438942" y="5320889"/>
            <a:chExt cx="1075533" cy="260761"/>
          </a:xfrm>
          <a:solidFill>
            <a:schemeClr val="bg2"/>
          </a:solidFill>
        </p:grpSpPr>
        <p:sp>
          <p:nvSpPr>
            <p:cNvPr id="11" name="Graphic 12">
              <a:extLst>
                <a:ext uri="{FF2B5EF4-FFF2-40B4-BE49-F238E27FC236}">
                  <a16:creationId xmlns:a16="http://schemas.microsoft.com/office/drawing/2014/main" id="{1E5D04A3-823B-4BC6-A1FE-1C7FE9401F5F}"/>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sz="2395"/>
            </a:p>
          </p:txBody>
        </p:sp>
        <p:sp>
          <p:nvSpPr>
            <p:cNvPr id="12" name="Graphic 12">
              <a:extLst>
                <a:ext uri="{FF2B5EF4-FFF2-40B4-BE49-F238E27FC236}">
                  <a16:creationId xmlns:a16="http://schemas.microsoft.com/office/drawing/2014/main" id="{32FC7C19-EF4A-406F-9AD3-66BED8BE3E7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sz="2395"/>
            </a:p>
          </p:txBody>
        </p:sp>
      </p:grpSp>
    </p:spTree>
    <p:extLst>
      <p:ext uri="{BB962C8B-B14F-4D97-AF65-F5344CB8AC3E}">
        <p14:creationId xmlns:p14="http://schemas.microsoft.com/office/powerpoint/2010/main" val="15255063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of contents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4D3056-49D2-4656-828C-D8DCEC523F2F}"/>
              </a:ext>
            </a:extLst>
          </p:cNvPr>
          <p:cNvGraphicFramePr>
            <a:graphicFrameLocks noChangeAspect="1"/>
          </p:cNvGraphicFramePr>
          <p:nvPr>
            <p:custDataLst>
              <p:tags r:id="rId1"/>
            </p:custDataLst>
            <p:extLst>
              <p:ext uri="{D42A27DB-BD31-4B8C-83A1-F6EECF244321}">
                <p14:modId xmlns:p14="http://schemas.microsoft.com/office/powerpoint/2010/main" val="682124965"/>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4D3056-49D2-4656-828C-D8DCEC523F2F}"/>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B15B8CC-F173-4F93-ADD6-ABDCE3DEACCE}"/>
              </a:ext>
            </a:extLst>
          </p:cNvPr>
          <p:cNvSpPr/>
          <p:nvPr/>
        </p:nvSpPr>
        <p:spPr bwMode="gray">
          <a:xfrm>
            <a:off x="1" y="1"/>
            <a:ext cx="12192000"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53"/>
          </a:p>
        </p:txBody>
      </p:sp>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solidFill>
                  <a:schemeClr val="bg2"/>
                </a:solidFill>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solidFill>
                  <a:schemeClr val="bg2"/>
                </a:solidFill>
              </a:defRPr>
            </a:lvl1pPr>
          </a:lstStyle>
          <a:p>
            <a:fld id="{B052C1DA-1795-4710-A2F6-220293EA01D5}" type="slidenum">
              <a:rPr lang="nl-NL" smtClean="0"/>
              <a:t>‹nr.›</a:t>
            </a:fld>
            <a:endParaRPr lang="nl-NL"/>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92386" y="1666346"/>
            <a:ext cx="3537219" cy="1164217"/>
          </a:xfrm>
        </p:spPr>
        <p:txBody>
          <a:bodyPr>
            <a:noAutofit/>
          </a:bodyPr>
          <a:lstStyle>
            <a:lvl1pPr marL="246191" indent="-246191" rtl="0">
              <a:lnSpc>
                <a:spcPct val="120000"/>
              </a:lnSpc>
              <a:spcBef>
                <a:spcPts val="0"/>
              </a:spcBef>
              <a:spcAft>
                <a:spcPts val="684"/>
              </a:spcAft>
              <a:buFont typeface="+mj-lt"/>
              <a:buAutoNum type="arabicPeriod"/>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37182"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92386" y="3076106"/>
            <a:ext cx="3538615" cy="1166194"/>
          </a:xfrm>
        </p:spPr>
        <p:txBody>
          <a:bodyPr/>
          <a:lstStyle>
            <a:lvl1pPr marL="246305" indent="-246305" rtl="0">
              <a:lnSpc>
                <a:spcPct val="120000"/>
              </a:lnSpc>
              <a:spcBef>
                <a:spcPts val="0"/>
              </a:spcBef>
              <a:spcAft>
                <a:spcPts val="684"/>
              </a:spcAft>
              <a:buFont typeface="+mj-lt"/>
              <a:buAutoNum type="arabicPeriod" startAt="2"/>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marL="246305" indent="0" rtl="0">
              <a:buNone/>
              <a:defRPr>
                <a:solidFill>
                  <a:schemeClr val="bg2"/>
                </a:solidFill>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92386" y="4487842"/>
            <a:ext cx="3538615" cy="1166194"/>
          </a:xfrm>
        </p:spPr>
        <p:txBody>
          <a:bodyPr/>
          <a:lstStyle>
            <a:lvl1pPr marL="246305" indent="-246305" rtl="0">
              <a:lnSpc>
                <a:spcPct val="120000"/>
              </a:lnSpc>
              <a:spcBef>
                <a:spcPts val="0"/>
              </a:spcBef>
              <a:spcAft>
                <a:spcPts val="684"/>
              </a:spcAft>
              <a:buFont typeface="+mj-lt"/>
              <a:buAutoNum type="arabicPeriod" startAt="3"/>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6248963" y="1666346"/>
            <a:ext cx="3538615" cy="1166194"/>
          </a:xfrm>
        </p:spPr>
        <p:txBody>
          <a:bodyPr/>
          <a:lstStyle>
            <a:lvl1pPr marL="246305" indent="-246305" rtl="0">
              <a:lnSpc>
                <a:spcPct val="120000"/>
              </a:lnSpc>
              <a:spcBef>
                <a:spcPts val="0"/>
              </a:spcBef>
              <a:spcAft>
                <a:spcPts val="684"/>
              </a:spcAft>
              <a:buFont typeface="+mj-lt"/>
              <a:buAutoNum type="arabicPeriod" startAt="4"/>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6248964" y="3076106"/>
            <a:ext cx="3538615" cy="1166194"/>
          </a:xfrm>
        </p:spPr>
        <p:txBody>
          <a:bodyPr/>
          <a:lstStyle>
            <a:lvl1pPr marL="246305" indent="-246305" rtl="0">
              <a:lnSpc>
                <a:spcPct val="120000"/>
              </a:lnSpc>
              <a:spcBef>
                <a:spcPts val="0"/>
              </a:spcBef>
              <a:spcAft>
                <a:spcPts val="684"/>
              </a:spcAft>
              <a:buFont typeface="+mj-lt"/>
              <a:buAutoNum type="arabicPeriod" startAt="5"/>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6248962" y="4487842"/>
            <a:ext cx="3538615" cy="1166194"/>
          </a:xfrm>
        </p:spPr>
        <p:txBody>
          <a:bodyPr/>
          <a:lstStyle>
            <a:lvl1pPr marL="246305" indent="-246305" rtl="0">
              <a:lnSpc>
                <a:spcPct val="120000"/>
              </a:lnSpc>
              <a:spcBef>
                <a:spcPts val="0"/>
              </a:spcBef>
              <a:spcAft>
                <a:spcPts val="684"/>
              </a:spcAft>
              <a:buFont typeface="+mj-lt"/>
              <a:buAutoNum type="arabicPeriod" startAt="6"/>
              <a:defRPr sz="1824">
                <a:solidFill>
                  <a:schemeClr val="bg2"/>
                </a:solidFill>
                <a:latin typeface="Poppins Light" panose="00000400000000000000" pitchFamily="2" charset="0"/>
                <a:cs typeface="Poppins Light" panose="00000400000000000000" pitchFamily="2" charset="0"/>
              </a:defRPr>
            </a:lvl1pPr>
            <a:lvl2pPr marL="246305" indent="0" rtl="0">
              <a:spcBef>
                <a:spcPts val="0"/>
              </a:spcBef>
              <a:buFont typeface="Arial" panose="020B0604020202020204" pitchFamily="34" charset="0"/>
              <a:buNone/>
              <a:tabLst>
                <a:tab pos="3548043" algn="r"/>
              </a:tabLst>
              <a:defRPr>
                <a:solidFill>
                  <a:schemeClr val="bg2"/>
                </a:solidFill>
                <a:latin typeface="+mn-lt"/>
                <a:cs typeface="Poppins Light" panose="00000400000000000000" pitchFamily="2" charset="0"/>
              </a:defRPr>
            </a:lvl2pPr>
            <a:lvl3pPr marL="246305"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pic>
        <p:nvPicPr>
          <p:cNvPr id="3" name="Picture 2" descr="Unite_Mercateo_logo landscape_white_RGB@5x">
            <a:extLst>
              <a:ext uri="{FF2B5EF4-FFF2-40B4-BE49-F238E27FC236}">
                <a16:creationId xmlns:a16="http://schemas.microsoft.com/office/drawing/2014/main" id="{39C45881-C770-5118-7144-D317842A100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71401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ody copy 2 columns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C9CA639-DE39-413F-A47F-6C027584A329}"/>
              </a:ext>
            </a:extLst>
          </p:cNvPr>
          <p:cNvGraphicFramePr>
            <a:graphicFrameLocks noChangeAspect="1"/>
          </p:cNvGraphicFramePr>
          <p:nvPr>
            <p:custDataLst>
              <p:tags r:id="rId1"/>
            </p:custDataLst>
            <p:extLst>
              <p:ext uri="{D42A27DB-BD31-4B8C-83A1-F6EECF244321}">
                <p14:modId xmlns:p14="http://schemas.microsoft.com/office/powerpoint/2010/main" val="1563781397"/>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7C9CA639-DE39-413F-A47F-6C027584A329}"/>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vl6pPr marL="985219">
              <a:spcBef>
                <a:spcPts val="684"/>
              </a:spcBef>
              <a:defRPr/>
            </a:lvl6pPr>
            <a:lvl7pPr marL="1231524">
              <a:spcBef>
                <a:spcPts val="684"/>
              </a:spcBef>
              <a:defRPr/>
            </a:lvl7pPr>
            <a:lvl8pPr marL="1477829">
              <a:spcBef>
                <a:spcPts val="684"/>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273245" y="1666345"/>
            <a:ext cx="4512940"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vl6pPr marL="985219">
              <a:spcBef>
                <a:spcPts val="684"/>
              </a:spcBef>
              <a:defRPr/>
            </a:lvl6pPr>
            <a:lvl7pPr marL="1231524">
              <a:spcBef>
                <a:spcPts val="684"/>
              </a:spcBef>
              <a:defRPr/>
            </a:lvl7pPr>
            <a:lvl8pPr marL="1477829">
              <a:spcBef>
                <a:spcPts val="684"/>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Tree>
    <p:extLst>
      <p:ext uri="{BB962C8B-B14F-4D97-AF65-F5344CB8AC3E}">
        <p14:creationId xmlns:p14="http://schemas.microsoft.com/office/powerpoint/2010/main" val="24406073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ody copy 2 columns  w/ benefi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6414E9B-7E3B-4AAC-8BA0-50C74F3DE708}"/>
              </a:ext>
            </a:extLst>
          </p:cNvPr>
          <p:cNvGraphicFramePr>
            <a:graphicFrameLocks noChangeAspect="1"/>
          </p:cNvGraphicFramePr>
          <p:nvPr>
            <p:custDataLst>
              <p:tags r:id="rId1"/>
            </p:custDataLst>
            <p:extLst>
              <p:ext uri="{D42A27DB-BD31-4B8C-83A1-F6EECF244321}">
                <p14:modId xmlns:p14="http://schemas.microsoft.com/office/powerpoint/2010/main" val="115811740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66414E9B-7E3B-4AAC-8BA0-50C74F3DE708}"/>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449302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vl6pPr marL="985219">
              <a:spcBef>
                <a:spcPts val="684"/>
              </a:spcBef>
              <a:defRPr/>
            </a:lvl6pPr>
            <a:lvl7pPr marL="1231524">
              <a:spcBef>
                <a:spcPts val="684"/>
              </a:spcBef>
              <a:defRPr/>
            </a:lvl7pPr>
            <a:lvl8pPr marL="1477829">
              <a:spcBef>
                <a:spcPts val="684"/>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273245" y="1666345"/>
            <a:ext cx="4512940" cy="4121342"/>
          </a:xfrm>
        </p:spPr>
        <p:txBody>
          <a:bodyPr/>
          <a:lstStyle>
            <a:lvl1pPr rtl="0">
              <a:defRPr b="1"/>
            </a:lvl1pPr>
            <a:lvl2pPr marL="0" indent="0" rtl="0">
              <a:buFont typeface="Arial" panose="020B0604020202020204" pitchFamily="34" charset="0"/>
              <a:buNone/>
              <a:defRPr/>
            </a:lvl2pPr>
            <a:lvl3pPr marL="246305" indent="-246305" rtl="0">
              <a:spcBef>
                <a:spcPts val="684"/>
              </a:spcBef>
              <a:buFont typeface="UniteFont" panose="02000509000000000000" pitchFamily="49" charset="0"/>
              <a:buChar char="+"/>
              <a:defRPr/>
            </a:lvl3pPr>
            <a:lvl4pPr marL="492610" indent="-246305" rtl="0">
              <a:spcBef>
                <a:spcPts val="684"/>
              </a:spcBef>
              <a:buFont typeface="UniteFont" panose="02000509000000000000" pitchFamily="49" charset="0"/>
              <a:buChar char="+"/>
              <a:defRPr/>
            </a:lvl4pPr>
            <a:lvl5pPr marL="738914" indent="-246305" rtl="0">
              <a:spcBef>
                <a:spcPts val="684"/>
              </a:spcBef>
              <a:buFont typeface="UniteFont" panose="02000509000000000000" pitchFamily="49" charset="0"/>
              <a:buChar char="+"/>
              <a:defRPr/>
            </a:lvl5pPr>
            <a:lvl6pPr marL="985219" indent="-246305">
              <a:spcBef>
                <a:spcPts val="684"/>
              </a:spcBef>
              <a:spcAft>
                <a:spcPts val="0"/>
              </a:spcAft>
              <a:buFont typeface="UniteFont" panose="02000509000000000000" pitchFamily="49" charset="0"/>
              <a:buChar char="+"/>
              <a:defRPr/>
            </a:lvl6pPr>
            <a:lvl7pPr marL="1231524" indent="-246305">
              <a:spcBef>
                <a:spcPts val="684"/>
              </a:spcBef>
              <a:spcAft>
                <a:spcPts val="0"/>
              </a:spcAft>
              <a:buFont typeface="UniteFont" panose="02000509000000000000" pitchFamily="49" charset="0"/>
              <a:buChar char="+"/>
              <a:defRPr/>
            </a:lvl7pPr>
            <a:lvl8pPr marL="1477829" indent="-246305">
              <a:spcBef>
                <a:spcPts val="684"/>
              </a:spcBef>
              <a:spcAft>
                <a:spcPts val="0"/>
              </a:spcAft>
              <a:buFont typeface="UniteFont" panose="02000509000000000000" pitchFamily="49" charset="0"/>
              <a:buChar char="+"/>
              <a:defRPr/>
            </a:lvl8pPr>
            <a:lvl9pPr marL="1724134" indent="-246305">
              <a:spcBef>
                <a:spcPts val="684"/>
              </a:spcBef>
              <a:spcAft>
                <a:spcPts val="0"/>
              </a:spcAft>
              <a:buFont typeface="UniteFont" panose="02000509000000000000" pitchFamily="49" charset="0"/>
              <a:buChar char="+"/>
              <a:defRPr/>
            </a:lvl9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a:p>
            <a:pPr lvl="5"/>
            <a:r>
              <a:rPr lang="en-US"/>
              <a:t>Sixth level, Noto Sans, 11pt</a:t>
            </a:r>
          </a:p>
          <a:p>
            <a:pPr lvl="6"/>
            <a:r>
              <a:rPr lang="en-US"/>
              <a:t>Seventh level, Noto Sans, 11pt</a:t>
            </a:r>
          </a:p>
          <a:p>
            <a:pPr lvl="7"/>
            <a:r>
              <a:rPr lang="en-US"/>
              <a:t>Eight level, Noto Sans, 11pt</a:t>
            </a:r>
          </a:p>
          <a:p>
            <a:pPr lvl="8"/>
            <a:r>
              <a:rPr lang="en-US"/>
              <a:t>Ninth level, Noto Sans, 11pt</a:t>
            </a:r>
          </a:p>
        </p:txBody>
      </p:sp>
    </p:spTree>
    <p:extLst>
      <p:ext uri="{BB962C8B-B14F-4D97-AF65-F5344CB8AC3E}">
        <p14:creationId xmlns:p14="http://schemas.microsoft.com/office/powerpoint/2010/main" val="25587747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ody copy 2 columns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6838C32-5617-409D-B4B0-9D514AEDF145}"/>
              </a:ext>
            </a:extLst>
          </p:cNvPr>
          <p:cNvGraphicFramePr>
            <a:graphicFrameLocks noChangeAspect="1"/>
          </p:cNvGraphicFramePr>
          <p:nvPr>
            <p:custDataLst>
              <p:tags r:id="rId1"/>
            </p:custDataLst>
            <p:extLst>
              <p:ext uri="{D42A27DB-BD31-4B8C-83A1-F6EECF244321}">
                <p14:modId xmlns:p14="http://schemas.microsoft.com/office/powerpoint/2010/main" val="171019925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B6838C32-5617-409D-B4B0-9D514AEDF145}"/>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204775" y="1"/>
            <a:ext cx="4987225"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448837"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2581408"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359815" y="1666345"/>
            <a:ext cx="2581409"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6454851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ody copy 2 columns w/ image coral">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4836E3D-6DEC-42CA-BB07-B3C3A0021266}"/>
              </a:ext>
            </a:extLst>
          </p:cNvPr>
          <p:cNvGraphicFramePr>
            <a:graphicFrameLocks noChangeAspect="1"/>
          </p:cNvGraphicFramePr>
          <p:nvPr>
            <p:custDataLst>
              <p:tags r:id="rId1"/>
            </p:custDataLst>
            <p:extLst>
              <p:ext uri="{D42A27DB-BD31-4B8C-83A1-F6EECF244321}">
                <p14:modId xmlns:p14="http://schemas.microsoft.com/office/powerpoint/2010/main" val="354713782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F4836E3D-6DEC-42CA-BB07-B3C3A0021266}"/>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6E92660-FC6E-4F4E-A6B3-EFC80B51BFBC}"/>
              </a:ext>
            </a:extLst>
          </p:cNvPr>
          <p:cNvSpPr/>
          <p:nvPr/>
        </p:nvSpPr>
        <p:spPr bwMode="gray">
          <a:xfrm>
            <a:off x="1"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395"/>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204775" y="1"/>
            <a:ext cx="4987225"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7" y="496088"/>
            <a:ext cx="5448837"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2581408" cy="4121342"/>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46305" indent="-246305" rtl="0">
              <a:spcBef>
                <a:spcPts val="684"/>
              </a:spcBef>
              <a:buClr>
                <a:schemeClr val="bg2"/>
              </a:buClr>
              <a:buFont typeface="UniteFont" panose="02000509000000000000" pitchFamily="49" charset="0"/>
              <a:buChar char="&gt;"/>
              <a:defRPr>
                <a:solidFill>
                  <a:schemeClr val="bg2"/>
                </a:solidFill>
              </a:defRPr>
            </a:lvl3pPr>
            <a:lvl4pPr marL="492610" indent="-246305" rtl="0">
              <a:spcBef>
                <a:spcPts val="684"/>
              </a:spcBef>
              <a:buClr>
                <a:schemeClr val="bg2"/>
              </a:buClr>
              <a:buFont typeface="UniteFont" panose="02000509000000000000" pitchFamily="49" charset="0"/>
              <a:buChar char="&gt;"/>
              <a:defRPr>
                <a:solidFill>
                  <a:schemeClr val="bg2"/>
                </a:solidFill>
              </a:defRPr>
            </a:lvl4pPr>
            <a:lvl5pPr marL="738914" indent="-246305" rtl="0">
              <a:spcBef>
                <a:spcPts val="684"/>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359815" y="1666345"/>
            <a:ext cx="2581409" cy="4121342"/>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46305" indent="-246305" rtl="0">
              <a:spcBef>
                <a:spcPts val="684"/>
              </a:spcBef>
              <a:buClr>
                <a:schemeClr val="bg2"/>
              </a:buClr>
              <a:buFont typeface="UniteFont" panose="02000509000000000000" pitchFamily="49" charset="0"/>
              <a:buChar char="&gt;"/>
              <a:defRPr>
                <a:solidFill>
                  <a:schemeClr val="bg2"/>
                </a:solidFill>
              </a:defRPr>
            </a:lvl3pPr>
            <a:lvl4pPr marL="492610" indent="-246305" rtl="0">
              <a:spcBef>
                <a:spcPts val="684"/>
              </a:spcBef>
              <a:buClr>
                <a:schemeClr val="bg2"/>
              </a:buClr>
              <a:buFont typeface="UniteFont" panose="02000509000000000000" pitchFamily="49" charset="0"/>
              <a:buChar char="&gt;"/>
              <a:defRPr>
                <a:solidFill>
                  <a:schemeClr val="bg2"/>
                </a:solidFill>
              </a:defRPr>
            </a:lvl4pPr>
            <a:lvl5pPr marL="738914" indent="-246305" rtl="0">
              <a:spcBef>
                <a:spcPts val="684"/>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pic>
        <p:nvPicPr>
          <p:cNvPr id="5" name="Picture 2" descr="Unite_Mercateo_logo landscape_white_RGB@5x">
            <a:extLst>
              <a:ext uri="{FF2B5EF4-FFF2-40B4-BE49-F238E27FC236}">
                <a16:creationId xmlns:a16="http://schemas.microsoft.com/office/drawing/2014/main" id="{24980AA4-7DE7-8255-1D65-A770D2D6DC7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2386" y="6107328"/>
            <a:ext cx="2362401" cy="628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65851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Key statement + copy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E72EEFC-C471-40E4-B193-CDD1C58AAD74}"/>
              </a:ext>
            </a:extLst>
          </p:cNvPr>
          <p:cNvGraphicFramePr>
            <a:graphicFrameLocks noChangeAspect="1"/>
          </p:cNvGraphicFramePr>
          <p:nvPr>
            <p:custDataLst>
              <p:tags r:id="rId1"/>
            </p:custDataLst>
            <p:extLst>
              <p:ext uri="{D42A27DB-BD31-4B8C-83A1-F6EECF244321}">
                <p14:modId xmlns:p14="http://schemas.microsoft.com/office/powerpoint/2010/main" val="142735728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EE72EEFC-C471-40E4-B193-CDD1C58AAD7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8160585" y="1"/>
            <a:ext cx="4031416"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7045473"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tIns="36000"/>
          <a:lstStyle>
            <a:lvl1pPr rtl="0">
              <a:lnSpc>
                <a:spcPct val="100000"/>
              </a:lnSpc>
              <a:defRPr sz="2737" b="0">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46305" indent="-246305">
              <a:defRPr/>
            </a:lvl3pPr>
            <a:lvl4pPr marL="492610" indent="-246305">
              <a:defRPr/>
            </a:lvl4pPr>
            <a:lvl5pPr marL="738914">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4" y="1666345"/>
            <a:ext cx="3222236"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11044206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Key statement + copy w/ image gradient">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EE925E2-5C9A-4900-9131-F06D3076DE99}"/>
              </a:ext>
            </a:extLst>
          </p:cNvPr>
          <p:cNvGraphicFramePr>
            <a:graphicFrameLocks noChangeAspect="1"/>
          </p:cNvGraphicFramePr>
          <p:nvPr>
            <p:custDataLst>
              <p:tags r:id="rId1"/>
            </p:custDataLst>
            <p:extLst>
              <p:ext uri="{D42A27DB-BD31-4B8C-83A1-F6EECF244321}">
                <p14:modId xmlns:p14="http://schemas.microsoft.com/office/powerpoint/2010/main" val="2611736131"/>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EE925E2-5C9A-4900-9131-F06D3076DE99}"/>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CDB308D-6432-41D9-A1BC-5552744070E6}"/>
              </a:ext>
            </a:extLst>
          </p:cNvPr>
          <p:cNvSpPr/>
          <p:nvPr/>
        </p:nvSpPr>
        <p:spPr bwMode="gray">
          <a:xfrm>
            <a:off x="1" y="1"/>
            <a:ext cx="8160583"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8160585" y="1"/>
            <a:ext cx="4031416" cy="6858000"/>
          </a:xfrm>
          <a:solidFill>
            <a:schemeClr val="bg2"/>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7045473" cy="628128"/>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tIns="36000"/>
          <a:lstStyle>
            <a:lvl1pPr rtl="0">
              <a:lnSpc>
                <a:spcPct val="100000"/>
              </a:lnSpc>
              <a:defRPr sz="2737" b="0">
                <a:solidFill>
                  <a:schemeClr val="bg2"/>
                </a:solidFill>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46305" indent="-246305">
              <a:defRPr/>
            </a:lvl3pPr>
            <a:lvl4pPr marL="492610" indent="-246305">
              <a:defRPr/>
            </a:lvl4pPr>
            <a:lvl5pPr marL="738914">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4" y="1666345"/>
            <a:ext cx="3222236" cy="4121342"/>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46305" indent="-246305" rtl="0">
              <a:spcBef>
                <a:spcPts val="684"/>
              </a:spcBef>
              <a:buClr>
                <a:schemeClr val="bg2"/>
              </a:buClr>
              <a:buFont typeface="UniteFont" panose="02000509000000000000" pitchFamily="49" charset="0"/>
              <a:buChar char="&gt;"/>
              <a:defRPr>
                <a:solidFill>
                  <a:schemeClr val="bg2"/>
                </a:solidFill>
              </a:defRPr>
            </a:lvl3pPr>
            <a:lvl4pPr marL="492610" indent="-246305" rtl="0">
              <a:spcBef>
                <a:spcPts val="684"/>
              </a:spcBef>
              <a:buClr>
                <a:schemeClr val="bg2"/>
              </a:buClr>
              <a:buFont typeface="UniteFont" panose="02000509000000000000" pitchFamily="49" charset="0"/>
              <a:buChar char="&gt;"/>
              <a:defRPr>
                <a:solidFill>
                  <a:schemeClr val="bg2"/>
                </a:solidFill>
              </a:defRPr>
            </a:lvl4pPr>
            <a:lvl5pPr marL="738914" indent="-246305" rtl="0">
              <a:spcBef>
                <a:spcPts val="684"/>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pic>
        <p:nvPicPr>
          <p:cNvPr id="5" name="Picture 2" descr="Unite_Mercateo_logo landscape_white_RGB@5x">
            <a:extLst>
              <a:ext uri="{FF2B5EF4-FFF2-40B4-BE49-F238E27FC236}">
                <a16:creationId xmlns:a16="http://schemas.microsoft.com/office/drawing/2014/main" id="{81DE74F2-490A-3D5D-C748-54E5C678D8B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92386" y="6107328"/>
            <a:ext cx="2362401" cy="628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49878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ody copy 3 columns ">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4870DA0-D6FB-4F9A-A135-DEDBF34A8E3C}"/>
              </a:ext>
            </a:extLst>
          </p:cNvPr>
          <p:cNvGraphicFramePr>
            <a:graphicFrameLocks noChangeAspect="1"/>
          </p:cNvGraphicFramePr>
          <p:nvPr>
            <p:custDataLst>
              <p:tags r:id="rId1"/>
            </p:custDataLst>
            <p:extLst>
              <p:ext uri="{D42A27DB-BD31-4B8C-83A1-F6EECF244321}">
                <p14:modId xmlns:p14="http://schemas.microsoft.com/office/powerpoint/2010/main" val="1650047479"/>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4870DA0-D6FB-4F9A-A135-DEDBF34A8E3C}"/>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5" y="1666345"/>
            <a:ext cx="3558941"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8160583" y="1666345"/>
            <a:ext cx="3537219" cy="4121341"/>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8181251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ody copy 3 columns w/ benefi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0EAD2EA-11FE-4532-B6AD-2336AD636FD2}"/>
              </a:ext>
            </a:extLst>
          </p:cNvPr>
          <p:cNvGraphicFramePr>
            <a:graphicFrameLocks noChangeAspect="1"/>
          </p:cNvGraphicFramePr>
          <p:nvPr>
            <p:custDataLst>
              <p:tags r:id="rId1"/>
            </p:custDataLst>
            <p:extLst>
              <p:ext uri="{D42A27DB-BD31-4B8C-83A1-F6EECF244321}">
                <p14:modId xmlns:p14="http://schemas.microsoft.com/office/powerpoint/2010/main" val="111154607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F0EAD2EA-11FE-4532-B6AD-2336AD636FD2}"/>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3537217"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315625" y="1666345"/>
            <a:ext cx="3558941"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8160583" y="1666345"/>
            <a:ext cx="3537219" cy="4121341"/>
          </a:xfrm>
        </p:spPr>
        <p:txBody>
          <a:bodyPr/>
          <a:lstStyle>
            <a:lvl1pPr rtl="0">
              <a:defRPr b="1"/>
            </a:lvl1pPr>
            <a:lvl2pPr marL="0" indent="0" rtl="0">
              <a:buFont typeface="Arial" panose="020B0604020202020204" pitchFamily="34" charset="0"/>
              <a:buNone/>
              <a:defRPr/>
            </a:lvl2pPr>
            <a:lvl3pPr marL="246305" indent="-246305" rtl="0">
              <a:spcBef>
                <a:spcPts val="684"/>
              </a:spcBef>
              <a:buFont typeface="UniteFont" panose="02000509000000000000" pitchFamily="49" charset="0"/>
              <a:buChar char="+"/>
              <a:defRPr/>
            </a:lvl3pPr>
            <a:lvl4pPr marL="492610" indent="-246305" rtl="0">
              <a:spcBef>
                <a:spcPts val="684"/>
              </a:spcBef>
              <a:buFont typeface="UniteFont" panose="02000509000000000000" pitchFamily="49" charset="0"/>
              <a:buChar char="+"/>
              <a:defRPr/>
            </a:lvl4pPr>
            <a:lvl5pPr marL="738914" indent="-246305" rtl="0">
              <a:spcBef>
                <a:spcPts val="684"/>
              </a:spcBef>
              <a:buFont typeface="UniteFont" panose="02000509000000000000" pitchFamily="49" charset="0"/>
              <a:buChar char="+"/>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6572322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ody copy 1 column white w/ gradi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C110A3-020B-4A96-AA93-F1E3B72F5974}"/>
              </a:ext>
            </a:extLst>
          </p:cNvPr>
          <p:cNvGraphicFramePr>
            <a:graphicFrameLocks noChangeAspect="1"/>
          </p:cNvGraphicFramePr>
          <p:nvPr>
            <p:custDataLst>
              <p:tags r:id="rId1"/>
            </p:custDataLst>
            <p:extLst>
              <p:ext uri="{D42A27DB-BD31-4B8C-83A1-F6EECF244321}">
                <p14:modId xmlns:p14="http://schemas.microsoft.com/office/powerpoint/2010/main" val="1627688532"/>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5C110A3-020B-4A96-AA93-F1E3B72F5974}"/>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11A4799-F0B7-48F1-8C41-F33DFD634799}"/>
              </a:ext>
            </a:extLst>
          </p:cNvPr>
          <p:cNvSpPr/>
          <p:nvPr/>
        </p:nvSpPr>
        <p:spPr bwMode="gray">
          <a:xfrm>
            <a:off x="6096000" y="1"/>
            <a:ext cx="6096001" cy="6858000"/>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2395"/>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5112132"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9" y="1666345"/>
            <a:ext cx="5112130"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3424385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ody copy 2 columns w/ image white 50/5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EFE0DB-62DC-4077-8AD6-2D264465AD50}"/>
              </a:ext>
            </a:extLst>
          </p:cNvPr>
          <p:cNvGraphicFramePr>
            <a:graphicFrameLocks noChangeAspect="1"/>
          </p:cNvGraphicFramePr>
          <p:nvPr>
            <p:custDataLst>
              <p:tags r:id="rId1"/>
            </p:custDataLst>
            <p:extLst>
              <p:ext uri="{D42A27DB-BD31-4B8C-83A1-F6EECF244321}">
                <p14:modId xmlns:p14="http://schemas.microsoft.com/office/powerpoint/2010/main" val="3865012710"/>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95EFE0DB-62DC-4077-8AD6-2D264465AD50}"/>
                          </a:ext>
                        </a:extLst>
                      </p:cNvPr>
                      <p:cNvPicPr/>
                      <p:nvPr/>
                    </p:nvPicPr>
                    <p:blipFill>
                      <a:blip r:embed="rId4"/>
                      <a:stretch>
                        <a:fillRect/>
                      </a:stretch>
                    </p:blipFill>
                    <p:spPr>
                      <a:xfrm>
                        <a:off x="1811" y="1818"/>
                        <a:ext cx="1811" cy="181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6096000" y="1"/>
            <a:ext cx="6096001" cy="6858000"/>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92388" y="496088"/>
            <a:ext cx="4780857" cy="628128"/>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92388" y="1666345"/>
            <a:ext cx="2199448" cy="4121342"/>
          </a:xfrm>
        </p:spPr>
        <p:txBody>
          <a:bodyPr/>
          <a:lstStyle>
            <a:lvl1pPr rtl="0">
              <a:defRPr b="1">
                <a:latin typeface="+mn-lt"/>
              </a:defRPr>
            </a:lvl1pPr>
            <a:lvl2pPr marL="0" indent="0" rtl="0">
              <a:buFont typeface="Arial" panose="020B0604020202020204" pitchFamily="34" charset="0"/>
              <a:buNone/>
              <a:defRPr/>
            </a:lvl2pPr>
            <a:lvl3pPr marL="246305" indent="-246305" rtl="0">
              <a:spcBef>
                <a:spcPts val="684"/>
              </a:spcBef>
              <a:defRPr/>
            </a:lvl3pPr>
            <a:lvl4pPr marL="492610" indent="-246305"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073796" y="1666345"/>
            <a:ext cx="2199448" cy="4121342"/>
          </a:xfrm>
        </p:spPr>
        <p:txBody>
          <a:bodyPr/>
          <a:lstStyle>
            <a:lvl1pPr rtl="0">
              <a:defRPr b="1"/>
            </a:lvl1pPr>
            <a:lvl2pPr marL="0" indent="0" rtl="0">
              <a:buFont typeface="Arial" panose="020B0604020202020204" pitchFamily="34" charset="0"/>
              <a:buNone/>
              <a:defRPr/>
            </a:lvl2pPr>
            <a:lvl3pPr marL="246305" rtl="0">
              <a:spcBef>
                <a:spcPts val="684"/>
              </a:spcBef>
              <a:defRPr/>
            </a:lvl3pPr>
            <a:lvl4pPr marL="492610" rtl="0">
              <a:spcBef>
                <a:spcPts val="684"/>
              </a:spcBef>
              <a:defRPr/>
            </a:lvl4pPr>
            <a:lvl5pPr marL="738914" rtl="0">
              <a:spcBef>
                <a:spcPts val="684"/>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420468527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1.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63" Type="http://schemas.openxmlformats.org/officeDocument/2006/relationships/slideLayout" Target="../slideLayouts/slideLayout128.xml"/><Relationship Id="rId68" Type="http://schemas.openxmlformats.org/officeDocument/2006/relationships/image" Target="../media/image1.emf"/><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tags" Target="../tags/tag65.xml"/><Relationship Id="rId5" Type="http://schemas.openxmlformats.org/officeDocument/2006/relationships/slideLayout" Target="../slideLayouts/slideLayout70.xml"/><Relationship Id="rId61" Type="http://schemas.openxmlformats.org/officeDocument/2006/relationships/slideLayout" Target="../slideLayouts/slideLayout126.xml"/><Relationship Id="rId19" Type="http://schemas.openxmlformats.org/officeDocument/2006/relationships/slideLayout" Target="../slideLayouts/slideLayout8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oleObject" Target="../embeddings/oleObject65.bin"/><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10" Type="http://schemas.openxmlformats.org/officeDocument/2006/relationships/slideLayout" Target="../slideLayouts/slideLayout75.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theme" Target="../theme/theme2.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9"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0AF179F-E635-4342-AC0C-C5752C458300}"/>
              </a:ext>
            </a:extLst>
          </p:cNvPr>
          <p:cNvGraphicFramePr>
            <a:graphicFrameLocks noChangeAspect="1"/>
          </p:cNvGraphicFramePr>
          <p:nvPr>
            <p:custDataLst>
              <p:tags r:id="rId67"/>
            </p:custDataLst>
            <p:extLst>
              <p:ext uri="{D42A27DB-BD31-4B8C-83A1-F6EECF244321}">
                <p14:modId xmlns:p14="http://schemas.microsoft.com/office/powerpoint/2010/main" val="489785843"/>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68" imgW="306" imgH="306" progId="TCLayout.ActiveDocument.1">
                  <p:embed/>
                </p:oleObj>
              </mc:Choice>
              <mc:Fallback>
                <p:oleObj name="think-cell Folie" r:id="rId68" imgW="306" imgH="306" progId="TCLayout.ActiveDocument.1">
                  <p:embed/>
                  <p:pic>
                    <p:nvPicPr>
                      <p:cNvPr id="9" name="Objekt 8" hidden="1">
                        <a:extLst>
                          <a:ext uri="{FF2B5EF4-FFF2-40B4-BE49-F238E27FC236}">
                            <a16:creationId xmlns:a16="http://schemas.microsoft.com/office/drawing/2014/main" id="{10AF179F-E635-4342-AC0C-C5752C458300}"/>
                          </a:ext>
                        </a:extLst>
                      </p:cNvPr>
                      <p:cNvPicPr/>
                      <p:nvPr/>
                    </p:nvPicPr>
                    <p:blipFill>
                      <a:blip r:embed="rId69"/>
                      <a:stretch>
                        <a:fillRect/>
                      </a:stretch>
                    </p:blipFill>
                    <p:spPr>
                      <a:xfrm>
                        <a:off x="1811" y="1818"/>
                        <a:ext cx="1811" cy="1818"/>
                      </a:xfrm>
                      <a:prstGeom prst="rect">
                        <a:avLst/>
                      </a:prstGeom>
                    </p:spPr>
                  </p:pic>
                </p:oleObj>
              </mc:Fallback>
            </mc:AlternateContent>
          </a:graphicData>
        </a:graphic>
      </p:graphicFrame>
      <p:sp>
        <p:nvSpPr>
          <p:cNvPr id="2" name="Title Placeholder 1"/>
          <p:cNvSpPr>
            <a:spLocks noGrp="1"/>
          </p:cNvSpPr>
          <p:nvPr>
            <p:ph type="title"/>
          </p:nvPr>
        </p:nvSpPr>
        <p:spPr>
          <a:xfrm>
            <a:off x="492387" y="496088"/>
            <a:ext cx="11205416" cy="628128"/>
          </a:xfrm>
          <a:prstGeom prst="rect">
            <a:avLst/>
          </a:prstGeom>
        </p:spPr>
        <p:txBody>
          <a:bodyPr vert="horz" lIns="0" tIns="0" rIns="0" bIns="0" rtlCol="0" anchor="t">
            <a:noAutofit/>
          </a:bodyPr>
          <a:lstStyle/>
          <a:p>
            <a:r>
              <a:rPr lang="en-GB" noProof="0"/>
              <a:t>Headline, Poppins Regular, 16pt</a:t>
            </a:r>
            <a:br>
              <a:rPr lang="en-GB" noProof="0"/>
            </a:br>
            <a:r>
              <a:rPr lang="en-GB" noProof="0"/>
              <a:t>Subheading, Poppins Light, 16pt</a:t>
            </a:r>
          </a:p>
        </p:txBody>
      </p:sp>
      <p:sp>
        <p:nvSpPr>
          <p:cNvPr id="3" name="Text Placeholder 2"/>
          <p:cNvSpPr>
            <a:spLocks noGrp="1"/>
          </p:cNvSpPr>
          <p:nvPr>
            <p:ph type="body" idx="1"/>
          </p:nvPr>
        </p:nvSpPr>
        <p:spPr>
          <a:xfrm>
            <a:off x="492387" y="1666345"/>
            <a:ext cx="11205416" cy="4121342"/>
          </a:xfrm>
          <a:prstGeom prst="rect">
            <a:avLst/>
          </a:prstGeom>
        </p:spPr>
        <p:txBody>
          <a:bodyPr vert="horz" lIns="0" tIns="0" rIns="0" bIns="0" rtlCol="0">
            <a:noAutofit/>
          </a:bodyPr>
          <a:lstStyle/>
          <a:p>
            <a:pPr lvl="0"/>
            <a:r>
              <a:rPr lang="en-GB" noProof="0"/>
              <a:t>First level, Noto Sans Regular, 11pt</a:t>
            </a:r>
          </a:p>
          <a:p>
            <a:pPr lvl="1"/>
            <a:r>
              <a:rPr lang="en-GB" noProof="0"/>
              <a:t>Second level, Noto Sans Regular, 11pt</a:t>
            </a:r>
          </a:p>
          <a:p>
            <a:pPr lvl="2"/>
            <a:r>
              <a:rPr lang="en-GB" noProof="0"/>
              <a:t>Third level, Noto Sans Regular, 11pt</a:t>
            </a:r>
          </a:p>
          <a:p>
            <a:pPr lvl="3"/>
            <a:r>
              <a:rPr lang="en-GB" noProof="0"/>
              <a:t>Fourth level, Noto Sans Regular, 11pt</a:t>
            </a:r>
          </a:p>
          <a:p>
            <a:pPr lvl="4"/>
            <a:r>
              <a:rPr lang="en-GB" noProof="0"/>
              <a:t>Fifth level, Noto Sans Regular, 11pt</a:t>
            </a:r>
          </a:p>
          <a:p>
            <a:pPr lvl="5"/>
            <a:r>
              <a:rPr lang="en-GB" noProof="0"/>
              <a:t>Sixth level, Noto Sans Regular, 11pt</a:t>
            </a:r>
          </a:p>
          <a:p>
            <a:pPr lvl="6"/>
            <a:r>
              <a:rPr lang="en-GB" noProof="0"/>
              <a:t>Seventh level, Noto Sans Regular, 11pt</a:t>
            </a:r>
          </a:p>
          <a:p>
            <a:pPr lvl="7"/>
            <a:r>
              <a:rPr lang="en-GB" noProof="0"/>
              <a:t>Eight level, Noto Sans Regular, 11pt</a:t>
            </a:r>
          </a:p>
          <a:p>
            <a:pPr lvl="8"/>
            <a:r>
              <a:rPr lang="en-GB" noProof="0"/>
              <a:t>Ninth level, Noto Sans Regular, 11pt</a:t>
            </a:r>
          </a:p>
          <a:p>
            <a:pPr lvl="4"/>
            <a:endParaRPr lang="en-GB" noProof="0"/>
          </a:p>
        </p:txBody>
      </p:sp>
      <p:sp>
        <p:nvSpPr>
          <p:cNvPr id="5" name="Footer Placeholder 4"/>
          <p:cNvSpPr>
            <a:spLocks noGrp="1"/>
          </p:cNvSpPr>
          <p:nvPr>
            <p:ph type="ftr" sz="quarter" idx="3"/>
          </p:nvPr>
        </p:nvSpPr>
        <p:spPr>
          <a:xfrm>
            <a:off x="3293467" y="6361912"/>
            <a:ext cx="2581408" cy="281843"/>
          </a:xfrm>
          <a:prstGeom prst="rect">
            <a:avLst/>
          </a:prstGeom>
        </p:spPr>
        <p:txBody>
          <a:bodyPr vert="horz" lIns="0" tIns="0" rIns="0" bIns="0" rtlCol="0" anchor="b" anchorCtr="0">
            <a:noAutofit/>
          </a:bodyPr>
          <a:lstStyle>
            <a:lvl1pPr algn="l" rtl="0">
              <a:defRPr sz="912">
                <a:solidFill>
                  <a:schemeClr val="tx2"/>
                </a:solidFill>
              </a:defRPr>
            </a:lvl1pPr>
          </a:lstStyle>
          <a:p>
            <a:endParaRPr lang="nl-NL"/>
          </a:p>
        </p:txBody>
      </p:sp>
      <p:sp>
        <p:nvSpPr>
          <p:cNvPr id="6" name="Slide Number Placeholder 5"/>
          <p:cNvSpPr>
            <a:spLocks noGrp="1"/>
          </p:cNvSpPr>
          <p:nvPr>
            <p:ph type="sldNum" sz="quarter" idx="4"/>
          </p:nvPr>
        </p:nvSpPr>
        <p:spPr>
          <a:xfrm>
            <a:off x="11028011" y="6107328"/>
            <a:ext cx="669791" cy="281843"/>
          </a:xfrm>
          <a:prstGeom prst="rect">
            <a:avLst/>
          </a:prstGeom>
        </p:spPr>
        <p:txBody>
          <a:bodyPr vert="horz" lIns="0" tIns="0" rIns="0" bIns="0" rtlCol="0" anchor="b" anchorCtr="0"/>
          <a:lstStyle>
            <a:lvl1pPr algn="r" rtl="0">
              <a:defRPr sz="912">
                <a:solidFill>
                  <a:schemeClr val="tx2"/>
                </a:solidFill>
              </a:defRPr>
            </a:lvl1pPr>
          </a:lstStyle>
          <a:p>
            <a:fld id="{B052C1DA-1795-4710-A2F6-220293EA01D5}" type="slidenum">
              <a:rPr lang="nl-NL" smtClean="0"/>
              <a:t>‹nr.›</a:t>
            </a:fld>
            <a:endParaRPr lang="nl-NL"/>
          </a:p>
        </p:txBody>
      </p:sp>
      <p:sp>
        <p:nvSpPr>
          <p:cNvPr id="18" name="Date Placeholder 17">
            <a:extLst>
              <a:ext uri="{FF2B5EF4-FFF2-40B4-BE49-F238E27FC236}">
                <a16:creationId xmlns:a16="http://schemas.microsoft.com/office/drawing/2014/main" id="{68634A6F-F0E2-47F9-8A66-8442A120E9F6}"/>
              </a:ext>
            </a:extLst>
          </p:cNvPr>
          <p:cNvSpPr>
            <a:spLocks noGrp="1"/>
          </p:cNvSpPr>
          <p:nvPr>
            <p:ph type="dt" sz="half" idx="2"/>
          </p:nvPr>
        </p:nvSpPr>
        <p:spPr>
          <a:xfrm>
            <a:off x="2404005" y="6970165"/>
            <a:ext cx="2742520" cy="140922"/>
          </a:xfrm>
          <a:prstGeom prst="rect">
            <a:avLst/>
          </a:prstGeom>
        </p:spPr>
        <p:txBody>
          <a:bodyPr vert="horz" lIns="0" tIns="0" rIns="0" bIns="0" rtlCol="0" anchor="ctr">
            <a:noAutofit/>
          </a:bodyPr>
          <a:lstStyle>
            <a:lvl1pPr algn="l" rtl="0">
              <a:defRPr sz="912">
                <a:solidFill>
                  <a:schemeClr val="bg2"/>
                </a:solidFill>
              </a:defRPr>
            </a:lvl1pPr>
          </a:lstStyle>
          <a:p>
            <a:fld id="{D1841161-7AEA-45A0-9DD6-72288FE30A04}" type="datetimeFigureOut">
              <a:rPr lang="nl-NL" smtClean="0"/>
              <a:t>5-10-2023</a:t>
            </a:fld>
            <a:endParaRPr lang="nl-NL"/>
          </a:p>
        </p:txBody>
      </p:sp>
      <p:pic>
        <p:nvPicPr>
          <p:cNvPr id="1028" name="Picture 4" descr="Unite_Mercateo_logo landscape_gradient_RGB@5x">
            <a:extLst>
              <a:ext uri="{FF2B5EF4-FFF2-40B4-BE49-F238E27FC236}">
                <a16:creationId xmlns:a16="http://schemas.microsoft.com/office/drawing/2014/main" id="{A495D1DF-8431-5643-B7E3-6DD008EE4343}"/>
              </a:ext>
            </a:extLst>
          </p:cNvPr>
          <p:cNvPicPr>
            <a:picLocks noChangeAspect="1" noChangeArrowheads="1"/>
          </p:cNvPicPr>
          <p:nvPr userDrawn="1"/>
        </p:nvPicPr>
        <p:blipFill>
          <a:blip r:embed="rId70">
            <a:extLst>
              <a:ext uri="{28A0092B-C50C-407E-A947-70E740481C1C}">
                <a14:useLocalDpi xmlns:a14="http://schemas.microsoft.com/office/drawing/2010/main" val="0"/>
              </a:ext>
            </a:extLst>
          </a:blip>
          <a:srcRect/>
          <a:stretch>
            <a:fillRect/>
          </a:stretch>
        </p:blipFill>
        <p:spPr bwMode="auto">
          <a:xfrm>
            <a:off x="365801" y="6126240"/>
            <a:ext cx="2211145" cy="587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23035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Lst>
  <p:txStyles>
    <p:titleStyle>
      <a:lvl1pPr algn="l" defTabSz="910894" rtl="0" eaLnBrk="1" latinLnBrk="0" hangingPunct="1">
        <a:lnSpc>
          <a:spcPct val="114000"/>
        </a:lnSpc>
        <a:spcBef>
          <a:spcPct val="0"/>
        </a:spcBef>
        <a:buNone/>
        <a:defRPr sz="1824" kern="1200">
          <a:solidFill>
            <a:schemeClr val="tx2"/>
          </a:solidFill>
          <a:latin typeface="Poppins Medium" panose="00000600000000000000" pitchFamily="2" charset="0"/>
          <a:ea typeface="+mj-ea"/>
          <a:cs typeface="Poppins Medium" panose="00000600000000000000" pitchFamily="2" charset="0"/>
        </a:defRPr>
      </a:lvl1pPr>
    </p:titleStyle>
    <p:body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p:bodyStyle>
    <p:otherStyle>
      <a:defPPr>
        <a:defRPr lang="en-US"/>
      </a:defPPr>
      <a:lvl1pPr marL="0" algn="l" defTabSz="910894" rtl="0" eaLnBrk="1" latinLnBrk="0" hangingPunct="1">
        <a:defRPr sz="1793" kern="1200">
          <a:solidFill>
            <a:schemeClr val="tx1"/>
          </a:solidFill>
          <a:latin typeface="+mn-lt"/>
          <a:ea typeface="+mn-ea"/>
          <a:cs typeface="+mn-cs"/>
        </a:defRPr>
      </a:lvl1pPr>
      <a:lvl2pPr marL="455447" algn="l" defTabSz="910894" rtl="0" eaLnBrk="1" latinLnBrk="0" hangingPunct="1">
        <a:defRPr sz="1793" kern="1200">
          <a:solidFill>
            <a:schemeClr val="tx1"/>
          </a:solidFill>
          <a:latin typeface="+mn-lt"/>
          <a:ea typeface="+mn-ea"/>
          <a:cs typeface="+mn-cs"/>
        </a:defRPr>
      </a:lvl2pPr>
      <a:lvl3pPr marL="910894" algn="l" defTabSz="910894" rtl="0" eaLnBrk="1" latinLnBrk="0" hangingPunct="1">
        <a:defRPr sz="1793" kern="1200">
          <a:solidFill>
            <a:schemeClr val="tx1"/>
          </a:solidFill>
          <a:latin typeface="+mn-lt"/>
          <a:ea typeface="+mn-ea"/>
          <a:cs typeface="+mn-cs"/>
        </a:defRPr>
      </a:lvl3pPr>
      <a:lvl4pPr marL="1366342" algn="l" defTabSz="910894" rtl="0" eaLnBrk="1" latinLnBrk="0" hangingPunct="1">
        <a:defRPr sz="1793" kern="1200">
          <a:solidFill>
            <a:schemeClr val="tx1"/>
          </a:solidFill>
          <a:latin typeface="+mn-lt"/>
          <a:ea typeface="+mn-ea"/>
          <a:cs typeface="+mn-cs"/>
        </a:defRPr>
      </a:lvl4pPr>
      <a:lvl5pPr marL="1821789" algn="l" defTabSz="910894" rtl="0" eaLnBrk="1" latinLnBrk="0" hangingPunct="1">
        <a:defRPr sz="1793" kern="1200">
          <a:solidFill>
            <a:schemeClr val="tx1"/>
          </a:solidFill>
          <a:latin typeface="+mn-lt"/>
          <a:ea typeface="+mn-ea"/>
          <a:cs typeface="+mn-cs"/>
        </a:defRPr>
      </a:lvl5pPr>
      <a:lvl6pPr marL="2277236" algn="l" defTabSz="910894" rtl="0" eaLnBrk="1" latinLnBrk="0" hangingPunct="1">
        <a:defRPr sz="1793" kern="1200">
          <a:solidFill>
            <a:schemeClr val="tx1"/>
          </a:solidFill>
          <a:latin typeface="+mn-lt"/>
          <a:ea typeface="+mn-ea"/>
          <a:cs typeface="+mn-cs"/>
        </a:defRPr>
      </a:lvl6pPr>
      <a:lvl7pPr marL="2732683" algn="l" defTabSz="910894" rtl="0" eaLnBrk="1" latinLnBrk="0" hangingPunct="1">
        <a:defRPr sz="1793" kern="1200">
          <a:solidFill>
            <a:schemeClr val="tx1"/>
          </a:solidFill>
          <a:latin typeface="+mn-lt"/>
          <a:ea typeface="+mn-ea"/>
          <a:cs typeface="+mn-cs"/>
        </a:defRPr>
      </a:lvl7pPr>
      <a:lvl8pPr marL="3188129" algn="l" defTabSz="910894" rtl="0" eaLnBrk="1" latinLnBrk="0" hangingPunct="1">
        <a:defRPr sz="1793" kern="1200">
          <a:solidFill>
            <a:schemeClr val="tx1"/>
          </a:solidFill>
          <a:latin typeface="+mn-lt"/>
          <a:ea typeface="+mn-ea"/>
          <a:cs typeface="+mn-cs"/>
        </a:defRPr>
      </a:lvl8pPr>
      <a:lvl9pPr marL="3643577" algn="l" defTabSz="910894" rtl="0" eaLnBrk="1" latinLnBrk="0" hangingPunct="1">
        <a:defRPr sz="1793"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1049" userDrawn="1">
          <p15:clr>
            <a:srgbClr val="FBAE40"/>
          </p15:clr>
        </p15:guide>
        <p15:guide id="7" orient="horz" pos="3838" userDrawn="1">
          <p15:clr>
            <a:srgbClr val="FBAE40"/>
          </p15:clr>
        </p15:guide>
        <p15:guide id="8" orient="horz" pos="3657" userDrawn="1">
          <p15:clr>
            <a:srgbClr val="FBAE40"/>
          </p15:clr>
        </p15:guide>
        <p15:guide id="12" pos="302" userDrawn="1">
          <p15:clr>
            <a:srgbClr val="FBAE40"/>
          </p15:clr>
        </p15:guide>
        <p15:guide id="14" pos="641">
          <p15:clr>
            <a:srgbClr val="A4A3A4"/>
          </p15:clr>
        </p15:guide>
        <p15:guide id="15" pos="799">
          <p15:clr>
            <a:srgbClr val="A4A3A4"/>
          </p15:clr>
        </p15:guide>
        <p15:guide id="16" pos="1169">
          <p15:clr>
            <a:srgbClr val="A4A3A4"/>
          </p15:clr>
        </p15:guide>
        <p15:guide id="17" pos="1328">
          <p15:clr>
            <a:srgbClr val="A4A3A4"/>
          </p15:clr>
        </p15:guide>
        <p15:guide id="18" pos="1698">
          <p15:clr>
            <a:srgbClr val="A4A3A4"/>
          </p15:clr>
        </p15:guide>
        <p15:guide id="19" pos="1856">
          <p15:clr>
            <a:srgbClr val="A4A3A4"/>
          </p15:clr>
        </p15:guide>
        <p15:guide id="20" pos="2226">
          <p15:clr>
            <a:srgbClr val="A4A3A4"/>
          </p15:clr>
        </p15:guide>
        <p15:guide id="21" pos="2384">
          <p15:clr>
            <a:srgbClr val="A4A3A4"/>
          </p15:clr>
        </p15:guide>
        <p15:guide id="22" pos="2754">
          <p15:clr>
            <a:srgbClr val="A4A3A4"/>
          </p15:clr>
        </p15:guide>
        <p15:guide id="23" pos="2913">
          <p15:clr>
            <a:srgbClr val="A4A3A4"/>
          </p15:clr>
        </p15:guide>
        <p15:guide id="24" pos="3282">
          <p15:clr>
            <a:srgbClr val="A4A3A4"/>
          </p15:clr>
        </p15:guide>
        <p15:guide id="37" pos="7378" userDrawn="1">
          <p15:clr>
            <a:srgbClr val="FBAE40"/>
          </p15:clr>
        </p15:guide>
        <p15:guide id="38" pos="6089">
          <p15:clr>
            <a:srgbClr val="A4A3A4"/>
          </p15:clr>
        </p15:guide>
        <p15:guide id="39" pos="5934">
          <p15:clr>
            <a:srgbClr val="A4A3A4"/>
          </p15:clr>
        </p15:guide>
        <p15:guide id="40" pos="5564">
          <p15:clr>
            <a:srgbClr val="A4A3A4"/>
          </p15:clr>
        </p15:guide>
        <p15:guide id="41" pos="5406">
          <p15:clr>
            <a:srgbClr val="A4A3A4"/>
          </p15:clr>
        </p15:guide>
        <p15:guide id="42" pos="5036">
          <p15:clr>
            <a:srgbClr val="A4A3A4"/>
          </p15:clr>
        </p15:guide>
        <p15:guide id="43" pos="4878">
          <p15:clr>
            <a:srgbClr val="A4A3A4"/>
          </p15:clr>
        </p15:guide>
        <p15:guide id="44" pos="4508">
          <p15:clr>
            <a:srgbClr val="A4A3A4"/>
          </p15:clr>
        </p15:guide>
        <p15:guide id="45" pos="4350">
          <p15:clr>
            <a:srgbClr val="A4A3A4"/>
          </p15:clr>
        </p15:guide>
        <p15:guide id="46" pos="3980">
          <p15:clr>
            <a:srgbClr val="A4A3A4"/>
          </p15:clr>
        </p15:guide>
        <p15:guide id="47" pos="3822">
          <p15:clr>
            <a:srgbClr val="A4A3A4"/>
          </p15:clr>
        </p15:guide>
        <p15:guide id="48" pos="3452">
          <p15:clr>
            <a:srgbClr val="A4A3A4"/>
          </p15:clr>
        </p15:guide>
        <p15:guide id="49" orient="horz" pos="300" userDrawn="1">
          <p15:clr>
            <a:srgbClr val="FBAE40"/>
          </p15:clr>
        </p15:guide>
        <p15:guide id="50" orient="horz" pos="709"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0AF179F-E635-4342-AC0C-C5752C458300}"/>
              </a:ext>
            </a:extLst>
          </p:cNvPr>
          <p:cNvGraphicFramePr>
            <a:graphicFrameLocks noChangeAspect="1"/>
          </p:cNvGraphicFramePr>
          <p:nvPr>
            <p:custDataLst>
              <p:tags r:id="rId66"/>
            </p:custDataLst>
            <p:extLst>
              <p:ext uri="{D42A27DB-BD31-4B8C-83A1-F6EECF244321}">
                <p14:modId xmlns:p14="http://schemas.microsoft.com/office/powerpoint/2010/main" val="1592868288"/>
              </p:ext>
            </p:extLst>
          </p:nvPr>
        </p:nvGraphicFramePr>
        <p:xfrm>
          <a:off x="1811" y="1818"/>
          <a:ext cx="1811" cy="1818"/>
        </p:xfrm>
        <a:graphic>
          <a:graphicData uri="http://schemas.openxmlformats.org/presentationml/2006/ole">
            <mc:AlternateContent xmlns:mc="http://schemas.openxmlformats.org/markup-compatibility/2006">
              <mc:Choice xmlns:v="urn:schemas-microsoft-com:vml" Requires="v">
                <p:oleObj name="think-cell Folie" r:id="rId67" imgW="306" imgH="306" progId="TCLayout.ActiveDocument.1">
                  <p:embed/>
                </p:oleObj>
              </mc:Choice>
              <mc:Fallback>
                <p:oleObj name="think-cell Folie" r:id="rId67" imgW="306" imgH="306" progId="TCLayout.ActiveDocument.1">
                  <p:embed/>
                  <p:pic>
                    <p:nvPicPr>
                      <p:cNvPr id="9" name="Objekt 8" hidden="1">
                        <a:extLst>
                          <a:ext uri="{FF2B5EF4-FFF2-40B4-BE49-F238E27FC236}">
                            <a16:creationId xmlns:a16="http://schemas.microsoft.com/office/drawing/2014/main" id="{10AF179F-E635-4342-AC0C-C5752C458300}"/>
                          </a:ext>
                        </a:extLst>
                      </p:cNvPr>
                      <p:cNvPicPr/>
                      <p:nvPr/>
                    </p:nvPicPr>
                    <p:blipFill>
                      <a:blip r:embed="rId68"/>
                      <a:stretch>
                        <a:fillRect/>
                      </a:stretch>
                    </p:blipFill>
                    <p:spPr>
                      <a:xfrm>
                        <a:off x="1811" y="1818"/>
                        <a:ext cx="1811" cy="1818"/>
                      </a:xfrm>
                      <a:prstGeom prst="rect">
                        <a:avLst/>
                      </a:prstGeom>
                    </p:spPr>
                  </p:pic>
                </p:oleObj>
              </mc:Fallback>
            </mc:AlternateContent>
          </a:graphicData>
        </a:graphic>
      </p:graphicFrame>
      <p:sp>
        <p:nvSpPr>
          <p:cNvPr id="2" name="Title Placeholder 1"/>
          <p:cNvSpPr>
            <a:spLocks noGrp="1"/>
          </p:cNvSpPr>
          <p:nvPr>
            <p:ph type="title"/>
          </p:nvPr>
        </p:nvSpPr>
        <p:spPr>
          <a:xfrm>
            <a:off x="492387" y="496088"/>
            <a:ext cx="11205416" cy="628128"/>
          </a:xfrm>
          <a:prstGeom prst="rect">
            <a:avLst/>
          </a:prstGeom>
        </p:spPr>
        <p:txBody>
          <a:bodyPr vert="horz" lIns="0" tIns="0" rIns="0" bIns="0" rtlCol="0" anchor="t">
            <a:noAutofit/>
          </a:bodyPr>
          <a:lstStyle/>
          <a:p>
            <a:r>
              <a:rPr lang="en-GB" noProof="0"/>
              <a:t>Headline, Poppins Regular, 16pt</a:t>
            </a:r>
            <a:br>
              <a:rPr lang="en-GB" noProof="0"/>
            </a:br>
            <a:r>
              <a:rPr lang="en-GB" noProof="0"/>
              <a:t>Subheading, Poppins Light, 16pt</a:t>
            </a:r>
          </a:p>
        </p:txBody>
      </p:sp>
      <p:sp>
        <p:nvSpPr>
          <p:cNvPr id="3" name="Text Placeholder 2"/>
          <p:cNvSpPr>
            <a:spLocks noGrp="1"/>
          </p:cNvSpPr>
          <p:nvPr>
            <p:ph type="body" idx="1"/>
          </p:nvPr>
        </p:nvSpPr>
        <p:spPr>
          <a:xfrm>
            <a:off x="492387" y="1666345"/>
            <a:ext cx="11205416" cy="4121342"/>
          </a:xfrm>
          <a:prstGeom prst="rect">
            <a:avLst/>
          </a:prstGeom>
        </p:spPr>
        <p:txBody>
          <a:bodyPr vert="horz" lIns="0" tIns="0" rIns="0" bIns="0" rtlCol="0">
            <a:noAutofit/>
          </a:bodyPr>
          <a:lstStyle/>
          <a:p>
            <a:pPr lvl="0"/>
            <a:r>
              <a:rPr lang="en-GB" noProof="0"/>
              <a:t>First level, Noto Sans Regular, 11pt</a:t>
            </a:r>
          </a:p>
          <a:p>
            <a:pPr lvl="1"/>
            <a:r>
              <a:rPr lang="en-GB" noProof="0"/>
              <a:t>Second level, Noto Sans Regular, 11pt</a:t>
            </a:r>
          </a:p>
          <a:p>
            <a:pPr lvl="2"/>
            <a:r>
              <a:rPr lang="en-GB" noProof="0"/>
              <a:t>Third level, Noto Sans Regular, 11pt</a:t>
            </a:r>
          </a:p>
          <a:p>
            <a:pPr lvl="3"/>
            <a:r>
              <a:rPr lang="en-GB" noProof="0"/>
              <a:t>Fourth level, Noto Sans Regular, 11pt</a:t>
            </a:r>
          </a:p>
          <a:p>
            <a:pPr lvl="4"/>
            <a:r>
              <a:rPr lang="en-GB" noProof="0"/>
              <a:t>Fifth level, Noto Sans Regular, 11pt</a:t>
            </a:r>
          </a:p>
          <a:p>
            <a:pPr lvl="5"/>
            <a:r>
              <a:rPr lang="en-GB" noProof="0"/>
              <a:t>Sixth level, Noto Sans Regular, 11pt</a:t>
            </a:r>
          </a:p>
          <a:p>
            <a:pPr lvl="6"/>
            <a:r>
              <a:rPr lang="en-GB" noProof="0"/>
              <a:t>Seventh level, Noto Sans Regular, 11pt</a:t>
            </a:r>
          </a:p>
          <a:p>
            <a:pPr lvl="7"/>
            <a:r>
              <a:rPr lang="en-GB" noProof="0"/>
              <a:t>Eight level, Noto Sans Regular, 11pt</a:t>
            </a:r>
          </a:p>
          <a:p>
            <a:pPr lvl="8"/>
            <a:r>
              <a:rPr lang="en-GB" noProof="0"/>
              <a:t>Ninth level, Noto Sans Regular, 11pt</a:t>
            </a:r>
          </a:p>
          <a:p>
            <a:pPr lvl="4"/>
            <a:endParaRPr lang="en-GB" noProof="0"/>
          </a:p>
        </p:txBody>
      </p:sp>
      <p:sp>
        <p:nvSpPr>
          <p:cNvPr id="5" name="Footer Placeholder 4"/>
          <p:cNvSpPr>
            <a:spLocks noGrp="1"/>
          </p:cNvSpPr>
          <p:nvPr>
            <p:ph type="ftr" sz="quarter" idx="3"/>
          </p:nvPr>
        </p:nvSpPr>
        <p:spPr>
          <a:xfrm>
            <a:off x="2404006" y="6107328"/>
            <a:ext cx="2581408" cy="281843"/>
          </a:xfrm>
          <a:prstGeom prst="rect">
            <a:avLst/>
          </a:prstGeom>
        </p:spPr>
        <p:txBody>
          <a:bodyPr vert="horz" lIns="0" tIns="0" rIns="0" bIns="0" rtlCol="0" anchor="b" anchorCtr="0">
            <a:noAutofit/>
          </a:bodyPr>
          <a:lstStyle>
            <a:lvl1pPr algn="l" rtl="0">
              <a:defRPr sz="912">
                <a:solidFill>
                  <a:schemeClr val="tx2"/>
                </a:solidFill>
              </a:defRPr>
            </a:lvl1pPr>
          </a:lstStyle>
          <a:p>
            <a:r>
              <a:rPr lang="en-US"/>
              <a:t>PowerPoint presentation template </a:t>
            </a:r>
            <a:br>
              <a:rPr lang="en-US"/>
            </a:br>
            <a:r>
              <a:rPr lang="en-US"/>
              <a:t>Example of long document title</a:t>
            </a:r>
            <a:endParaRPr lang="en-GB"/>
          </a:p>
        </p:txBody>
      </p:sp>
      <p:sp>
        <p:nvSpPr>
          <p:cNvPr id="6" name="Slide Number Placeholder 5"/>
          <p:cNvSpPr>
            <a:spLocks noGrp="1"/>
          </p:cNvSpPr>
          <p:nvPr>
            <p:ph type="sldNum" sz="quarter" idx="4"/>
          </p:nvPr>
        </p:nvSpPr>
        <p:spPr>
          <a:xfrm>
            <a:off x="11028011" y="6107328"/>
            <a:ext cx="669791" cy="281843"/>
          </a:xfrm>
          <a:prstGeom prst="rect">
            <a:avLst/>
          </a:prstGeom>
        </p:spPr>
        <p:txBody>
          <a:bodyPr vert="horz" lIns="0" tIns="0" rIns="0" bIns="0" rtlCol="0" anchor="b" anchorCtr="0"/>
          <a:lstStyle>
            <a:lvl1pPr algn="r" rtl="0">
              <a:defRPr sz="912">
                <a:solidFill>
                  <a:schemeClr val="tx2"/>
                </a:solidFill>
              </a:defRPr>
            </a:lvl1pPr>
          </a:lstStyle>
          <a:p>
            <a:fld id="{A9C39F7E-FC7D-44FD-B6BC-F6BE49B3337B}" type="slidenum">
              <a:rPr lang="en-GB" smtClean="0"/>
              <a:pPr/>
              <a:t>‹nr.›</a:t>
            </a:fld>
            <a:endParaRPr lang="en-GB"/>
          </a:p>
        </p:txBody>
      </p:sp>
      <p:grpSp>
        <p:nvGrpSpPr>
          <p:cNvPr id="17" name="Group 16">
            <a:extLst>
              <a:ext uri="{FF2B5EF4-FFF2-40B4-BE49-F238E27FC236}">
                <a16:creationId xmlns:a16="http://schemas.microsoft.com/office/drawing/2014/main" id="{3647EBE6-5927-47A7-9178-6B22BCC8016C}"/>
              </a:ext>
            </a:extLst>
          </p:cNvPr>
          <p:cNvGrpSpPr/>
          <p:nvPr/>
        </p:nvGrpSpPr>
        <p:grpSpPr>
          <a:xfrm>
            <a:off x="500531" y="6090685"/>
            <a:ext cx="1226443" cy="298486"/>
            <a:chOff x="438942" y="5320889"/>
            <a:chExt cx="1075533" cy="260761"/>
          </a:xfrm>
          <a:gradFill>
            <a:gsLst>
              <a:gs pos="20000">
                <a:schemeClr val="accent1"/>
              </a:gs>
              <a:gs pos="80000">
                <a:schemeClr val="accent2"/>
              </a:gs>
            </a:gsLst>
            <a:lin ang="18600000" scaled="0"/>
          </a:gradFill>
        </p:grpSpPr>
        <p:sp>
          <p:nvSpPr>
            <p:cNvPr id="14" name="Graphic 12">
              <a:extLst>
                <a:ext uri="{FF2B5EF4-FFF2-40B4-BE49-F238E27FC236}">
                  <a16:creationId xmlns:a16="http://schemas.microsoft.com/office/drawing/2014/main" id="{8A1C4761-DC80-46C9-A2F9-A1E177A22EAE}"/>
                </a:ext>
              </a:extLst>
            </p:cNvPr>
            <p:cNvSpPr/>
            <p:nvPr/>
          </p:nvSpPr>
          <p:spPr>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solidFill>
              <a:schemeClr val="accent1"/>
            </a:solidFill>
            <a:ln w="9525" cap="flat">
              <a:noFill/>
              <a:prstDash val="solid"/>
              <a:miter/>
            </a:ln>
          </p:spPr>
          <p:txBody>
            <a:bodyPr rtlCol="0" anchor="ctr"/>
            <a:lstStyle/>
            <a:p>
              <a:pPr rtl="0"/>
              <a:endParaRPr lang="en-GB" sz="2395" noProof="0"/>
            </a:p>
          </p:txBody>
        </p:sp>
        <p:sp>
          <p:nvSpPr>
            <p:cNvPr id="15" name="Graphic 12">
              <a:extLst>
                <a:ext uri="{FF2B5EF4-FFF2-40B4-BE49-F238E27FC236}">
                  <a16:creationId xmlns:a16="http://schemas.microsoft.com/office/drawing/2014/main" id="{8A1C4761-DC80-46C9-A2F9-A1E177A22EAE}"/>
                </a:ext>
              </a:extLst>
            </p:cNvPr>
            <p:cNvSpPr/>
            <p:nvPr/>
          </p:nvSpPr>
          <p:spPr>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adFill flip="none" rotWithShape="1">
              <a:gsLst>
                <a:gs pos="20000">
                  <a:schemeClr val="tx1"/>
                </a:gs>
                <a:gs pos="80000">
                  <a:schemeClr val="accent2"/>
                </a:gs>
              </a:gsLst>
              <a:lin ang="18600000" scaled="0"/>
              <a:tileRect/>
            </a:gradFill>
            <a:ln w="9525" cap="flat">
              <a:noFill/>
              <a:prstDash val="solid"/>
              <a:miter/>
            </a:ln>
          </p:spPr>
          <p:txBody>
            <a:bodyPr rtlCol="0" anchor="ctr"/>
            <a:lstStyle/>
            <a:p>
              <a:pPr lvl="0"/>
              <a:endParaRPr lang="en-GB" sz="2395" noProof="0"/>
            </a:p>
          </p:txBody>
        </p:sp>
      </p:grpSp>
      <p:sp>
        <p:nvSpPr>
          <p:cNvPr id="18" name="Date Placeholder 17">
            <a:extLst>
              <a:ext uri="{FF2B5EF4-FFF2-40B4-BE49-F238E27FC236}">
                <a16:creationId xmlns:a16="http://schemas.microsoft.com/office/drawing/2014/main" id="{68634A6F-F0E2-47F9-8A66-8442A120E9F6}"/>
              </a:ext>
            </a:extLst>
          </p:cNvPr>
          <p:cNvSpPr>
            <a:spLocks noGrp="1"/>
          </p:cNvSpPr>
          <p:nvPr>
            <p:ph type="dt" sz="half" idx="2"/>
          </p:nvPr>
        </p:nvSpPr>
        <p:spPr>
          <a:xfrm>
            <a:off x="2404005" y="6970165"/>
            <a:ext cx="2742520" cy="140922"/>
          </a:xfrm>
          <a:prstGeom prst="rect">
            <a:avLst/>
          </a:prstGeom>
        </p:spPr>
        <p:txBody>
          <a:bodyPr vert="horz" lIns="0" tIns="0" rIns="0" bIns="0" rtlCol="0" anchor="ctr">
            <a:noAutofit/>
          </a:bodyPr>
          <a:lstStyle>
            <a:lvl1pPr algn="l" rtl="0">
              <a:defRPr sz="912">
                <a:solidFill>
                  <a:schemeClr val="bg2"/>
                </a:solidFill>
              </a:defRPr>
            </a:lvl1pPr>
          </a:lstStyle>
          <a:p>
            <a:endParaRPr lang="en-GB"/>
          </a:p>
        </p:txBody>
      </p:sp>
    </p:spTree>
    <p:extLst>
      <p:ext uri="{BB962C8B-B14F-4D97-AF65-F5344CB8AC3E}">
        <p14:creationId xmlns:p14="http://schemas.microsoft.com/office/powerpoint/2010/main" val="185499492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 id="2147483763" r:id="rId37"/>
    <p:sldLayoutId id="2147483764" r:id="rId38"/>
    <p:sldLayoutId id="2147483765" r:id="rId39"/>
    <p:sldLayoutId id="2147483766" r:id="rId40"/>
    <p:sldLayoutId id="2147483767" r:id="rId41"/>
    <p:sldLayoutId id="2147483768" r:id="rId42"/>
    <p:sldLayoutId id="2147483769" r:id="rId43"/>
    <p:sldLayoutId id="2147483770" r:id="rId44"/>
    <p:sldLayoutId id="2147483771" r:id="rId45"/>
    <p:sldLayoutId id="2147483772" r:id="rId46"/>
    <p:sldLayoutId id="2147483773" r:id="rId47"/>
    <p:sldLayoutId id="2147483774" r:id="rId48"/>
    <p:sldLayoutId id="2147483775" r:id="rId49"/>
    <p:sldLayoutId id="2147483776" r:id="rId50"/>
    <p:sldLayoutId id="2147483777" r:id="rId51"/>
    <p:sldLayoutId id="2147483778" r:id="rId52"/>
    <p:sldLayoutId id="2147483779" r:id="rId53"/>
    <p:sldLayoutId id="2147483780" r:id="rId54"/>
    <p:sldLayoutId id="2147483781" r:id="rId55"/>
    <p:sldLayoutId id="2147483782" r:id="rId56"/>
    <p:sldLayoutId id="2147483783" r:id="rId57"/>
    <p:sldLayoutId id="2147483784" r:id="rId58"/>
    <p:sldLayoutId id="2147483785" r:id="rId59"/>
    <p:sldLayoutId id="2147483786" r:id="rId60"/>
    <p:sldLayoutId id="2147483787" r:id="rId61"/>
    <p:sldLayoutId id="2147483788" r:id="rId62"/>
    <p:sldLayoutId id="2147483789" r:id="rId63"/>
    <p:sldLayoutId id="2147483790" r:id="rId64"/>
  </p:sldLayoutIdLst>
  <p:hf hdr="0" ftr="0" dt="0"/>
  <p:txStyles>
    <p:titleStyle>
      <a:lvl1pPr algn="l" defTabSz="910894" rtl="0" eaLnBrk="1" latinLnBrk="0" hangingPunct="1">
        <a:lnSpc>
          <a:spcPct val="114000"/>
        </a:lnSpc>
        <a:spcBef>
          <a:spcPct val="0"/>
        </a:spcBef>
        <a:buNone/>
        <a:defRPr sz="1824" kern="1200">
          <a:solidFill>
            <a:schemeClr val="tx2"/>
          </a:solidFill>
          <a:latin typeface="Poppins Medium" panose="00000600000000000000" pitchFamily="2" charset="0"/>
          <a:ea typeface="+mj-ea"/>
          <a:cs typeface="Poppins Medium" panose="00000600000000000000" pitchFamily="2" charset="0"/>
        </a:defRPr>
      </a:lvl1pPr>
    </p:titleStyle>
    <p:body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p:bodyStyle>
    <p:otherStyle>
      <a:defPPr>
        <a:defRPr lang="en-US"/>
      </a:defPPr>
      <a:lvl1pPr marL="0" algn="l" defTabSz="910894" rtl="0" eaLnBrk="1" latinLnBrk="0" hangingPunct="1">
        <a:defRPr sz="1793" kern="1200">
          <a:solidFill>
            <a:schemeClr val="tx1"/>
          </a:solidFill>
          <a:latin typeface="+mn-lt"/>
          <a:ea typeface="+mn-ea"/>
          <a:cs typeface="+mn-cs"/>
        </a:defRPr>
      </a:lvl1pPr>
      <a:lvl2pPr marL="455447" algn="l" defTabSz="910894" rtl="0" eaLnBrk="1" latinLnBrk="0" hangingPunct="1">
        <a:defRPr sz="1793" kern="1200">
          <a:solidFill>
            <a:schemeClr val="tx1"/>
          </a:solidFill>
          <a:latin typeface="+mn-lt"/>
          <a:ea typeface="+mn-ea"/>
          <a:cs typeface="+mn-cs"/>
        </a:defRPr>
      </a:lvl2pPr>
      <a:lvl3pPr marL="910894" algn="l" defTabSz="910894" rtl="0" eaLnBrk="1" latinLnBrk="0" hangingPunct="1">
        <a:defRPr sz="1793" kern="1200">
          <a:solidFill>
            <a:schemeClr val="tx1"/>
          </a:solidFill>
          <a:latin typeface="+mn-lt"/>
          <a:ea typeface="+mn-ea"/>
          <a:cs typeface="+mn-cs"/>
        </a:defRPr>
      </a:lvl3pPr>
      <a:lvl4pPr marL="1366342" algn="l" defTabSz="910894" rtl="0" eaLnBrk="1" latinLnBrk="0" hangingPunct="1">
        <a:defRPr sz="1793" kern="1200">
          <a:solidFill>
            <a:schemeClr val="tx1"/>
          </a:solidFill>
          <a:latin typeface="+mn-lt"/>
          <a:ea typeface="+mn-ea"/>
          <a:cs typeface="+mn-cs"/>
        </a:defRPr>
      </a:lvl4pPr>
      <a:lvl5pPr marL="1821789" algn="l" defTabSz="910894" rtl="0" eaLnBrk="1" latinLnBrk="0" hangingPunct="1">
        <a:defRPr sz="1793" kern="1200">
          <a:solidFill>
            <a:schemeClr val="tx1"/>
          </a:solidFill>
          <a:latin typeface="+mn-lt"/>
          <a:ea typeface="+mn-ea"/>
          <a:cs typeface="+mn-cs"/>
        </a:defRPr>
      </a:lvl5pPr>
      <a:lvl6pPr marL="2277236" algn="l" defTabSz="910894" rtl="0" eaLnBrk="1" latinLnBrk="0" hangingPunct="1">
        <a:defRPr sz="1793" kern="1200">
          <a:solidFill>
            <a:schemeClr val="tx1"/>
          </a:solidFill>
          <a:latin typeface="+mn-lt"/>
          <a:ea typeface="+mn-ea"/>
          <a:cs typeface="+mn-cs"/>
        </a:defRPr>
      </a:lvl6pPr>
      <a:lvl7pPr marL="2732683" algn="l" defTabSz="910894" rtl="0" eaLnBrk="1" latinLnBrk="0" hangingPunct="1">
        <a:defRPr sz="1793" kern="1200">
          <a:solidFill>
            <a:schemeClr val="tx1"/>
          </a:solidFill>
          <a:latin typeface="+mn-lt"/>
          <a:ea typeface="+mn-ea"/>
          <a:cs typeface="+mn-cs"/>
        </a:defRPr>
      </a:lvl7pPr>
      <a:lvl8pPr marL="3188129" algn="l" defTabSz="910894" rtl="0" eaLnBrk="1" latinLnBrk="0" hangingPunct="1">
        <a:defRPr sz="1793" kern="1200">
          <a:solidFill>
            <a:schemeClr val="tx1"/>
          </a:solidFill>
          <a:latin typeface="+mn-lt"/>
          <a:ea typeface="+mn-ea"/>
          <a:cs typeface="+mn-cs"/>
        </a:defRPr>
      </a:lvl8pPr>
      <a:lvl9pPr marL="3643577" algn="l" defTabSz="910894" rtl="0" eaLnBrk="1" latinLnBrk="0" hangingPunct="1">
        <a:defRPr sz="1793"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1050">
          <p15:clr>
            <a:srgbClr val="FBAE40"/>
          </p15:clr>
        </p15:guide>
        <p15:guide id="7" orient="horz" pos="3646">
          <p15:clr>
            <a:srgbClr val="FBAE40"/>
          </p15:clr>
        </p15:guide>
        <p15:guide id="8" orient="horz" pos="4025">
          <p15:clr>
            <a:srgbClr val="FBAE40"/>
          </p15:clr>
        </p15:guide>
        <p15:guide id="12" pos="310">
          <p15:clr>
            <a:srgbClr val="FBAE40"/>
          </p15:clr>
        </p15:guide>
        <p15:guide id="14" pos="731">
          <p15:clr>
            <a:srgbClr val="A4A3A4"/>
          </p15:clr>
        </p15:guide>
        <p15:guide id="15" pos="911">
          <p15:clr>
            <a:srgbClr val="A4A3A4"/>
          </p15:clr>
        </p15:guide>
        <p15:guide id="16" pos="1333">
          <p15:clr>
            <a:srgbClr val="A4A3A4"/>
          </p15:clr>
        </p15:guide>
        <p15:guide id="17" pos="1514">
          <p15:clr>
            <a:srgbClr val="A4A3A4"/>
          </p15:clr>
        </p15:guide>
        <p15:guide id="18" pos="1936">
          <p15:clr>
            <a:srgbClr val="A4A3A4"/>
          </p15:clr>
        </p15:guide>
        <p15:guide id="19" pos="2116">
          <p15:clr>
            <a:srgbClr val="A4A3A4"/>
          </p15:clr>
        </p15:guide>
        <p15:guide id="20" pos="2538">
          <p15:clr>
            <a:srgbClr val="A4A3A4"/>
          </p15:clr>
        </p15:guide>
        <p15:guide id="21" pos="2719">
          <p15:clr>
            <a:srgbClr val="A4A3A4"/>
          </p15:clr>
        </p15:guide>
        <p15:guide id="22" pos="3140">
          <p15:clr>
            <a:srgbClr val="A4A3A4"/>
          </p15:clr>
        </p15:guide>
        <p15:guide id="23" pos="3322">
          <p15:clr>
            <a:srgbClr val="A4A3A4"/>
          </p15:clr>
        </p15:guide>
        <p15:guide id="24" pos="3743">
          <p15:clr>
            <a:srgbClr val="A4A3A4"/>
          </p15:clr>
        </p15:guide>
        <p15:guide id="37" pos="7369">
          <p15:clr>
            <a:srgbClr val="FBAE40"/>
          </p15:clr>
        </p15:guide>
        <p15:guide id="38" pos="6943">
          <p15:clr>
            <a:srgbClr val="A4A3A4"/>
          </p15:clr>
        </p15:guide>
        <p15:guide id="39" pos="6767">
          <p15:clr>
            <a:srgbClr val="A4A3A4"/>
          </p15:clr>
        </p15:guide>
        <p15:guide id="40" pos="6345">
          <p15:clr>
            <a:srgbClr val="A4A3A4"/>
          </p15:clr>
        </p15:guide>
        <p15:guide id="41" pos="6165">
          <p15:clr>
            <a:srgbClr val="A4A3A4"/>
          </p15:clr>
        </p15:guide>
        <p15:guide id="42" pos="5743">
          <p15:clr>
            <a:srgbClr val="A4A3A4"/>
          </p15:clr>
        </p15:guide>
        <p15:guide id="43" pos="5562">
          <p15:clr>
            <a:srgbClr val="A4A3A4"/>
          </p15:clr>
        </p15:guide>
        <p15:guide id="44" pos="5141">
          <p15:clr>
            <a:srgbClr val="A4A3A4"/>
          </p15:clr>
        </p15:guide>
        <p15:guide id="45" pos="4960">
          <p15:clr>
            <a:srgbClr val="A4A3A4"/>
          </p15:clr>
        </p15:guide>
        <p15:guide id="46" pos="4538">
          <p15:clr>
            <a:srgbClr val="A4A3A4"/>
          </p15:clr>
        </p15:guide>
        <p15:guide id="47" pos="4358">
          <p15:clr>
            <a:srgbClr val="A4A3A4"/>
          </p15:clr>
        </p15:guide>
        <p15:guide id="48" pos="3936">
          <p15:clr>
            <a:srgbClr val="A4A3A4"/>
          </p15:clr>
        </p15:guide>
        <p15:guide id="49" orient="horz" pos="312">
          <p15:clr>
            <a:srgbClr val="FBAE40"/>
          </p15:clr>
        </p15:guide>
        <p15:guide id="50" orient="horz" pos="71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image" Target="../media/image29.png"/><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 Id="rId14"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hyperlink" Target="https://www.mercateo.nl/procure/sap-ariba-en-mercateo-werken-samen-voor-spot-buy-oplossing-in-europa" TargetMode="External"/><Relationship Id="rId18" Type="http://schemas.openxmlformats.org/officeDocument/2006/relationships/image" Target="../media/image49.png"/><Relationship Id="rId3" Type="http://schemas.openxmlformats.org/officeDocument/2006/relationships/image" Target="../media/image41.emf"/><Relationship Id="rId7" Type="http://schemas.openxmlformats.org/officeDocument/2006/relationships/hyperlink" Target="https://unite.eu/nl-nl/media/berichten-en-insights/zalando-succes" TargetMode="External"/><Relationship Id="rId12" Type="http://schemas.openxmlformats.org/officeDocument/2006/relationships/image" Target="../media/image40.png"/><Relationship Id="rId17" Type="http://schemas.microsoft.com/office/2007/relationships/hdphoto" Target="../media/hdphoto1.wdp"/><Relationship Id="rId2" Type="http://schemas.openxmlformats.org/officeDocument/2006/relationships/notesSlide" Target="../notesSlides/notesSlide11.xml"/><Relationship Id="rId16" Type="http://schemas.openxmlformats.org/officeDocument/2006/relationships/image" Target="../media/image48.png"/><Relationship Id="rId1" Type="http://schemas.openxmlformats.org/officeDocument/2006/relationships/slideLayout" Target="../slideLayouts/slideLayout23.xml"/><Relationship Id="rId6" Type="http://schemas.openxmlformats.org/officeDocument/2006/relationships/image" Target="../media/image43.png"/><Relationship Id="rId11" Type="http://schemas.openxmlformats.org/officeDocument/2006/relationships/image" Target="../media/image29.png"/><Relationship Id="rId5" Type="http://schemas.openxmlformats.org/officeDocument/2006/relationships/hyperlink" Target="https://unite.eu/nl-nl/media/berichten-en-insights/rwe-testimonial" TargetMode="External"/><Relationship Id="rId15" Type="http://schemas.openxmlformats.org/officeDocument/2006/relationships/hyperlink" Target="https://unite.eu/en-global/resources/press-and-coverage/unite-joins-coupa-advantage" TargetMode="External"/><Relationship Id="rId10" Type="http://schemas.openxmlformats.org/officeDocument/2006/relationships/image" Target="../media/image46.png"/><Relationship Id="rId19" Type="http://schemas.microsoft.com/office/2007/relationships/hdphoto" Target="../media/hdphoto2.wdp"/><Relationship Id="rId4" Type="http://schemas.openxmlformats.org/officeDocument/2006/relationships/image" Target="../media/image42.png"/><Relationship Id="rId9" Type="http://schemas.openxmlformats.org/officeDocument/2006/relationships/image" Target="../media/image45.png"/><Relationship Id="rId1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21.xml"/><Relationship Id="rId4" Type="http://schemas.openxmlformats.org/officeDocument/2006/relationships/image" Target="../media/image50.jpe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21.xml"/><Relationship Id="rId5" Type="http://schemas.openxmlformats.org/officeDocument/2006/relationships/image" Target="../media/image23.jpeg"/><Relationship Id="rId4" Type="http://schemas.openxmlformats.org/officeDocument/2006/relationships/hyperlink" Target="http://www.besparingspotentieel-ontdekken.n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5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1A7C4C-24D2-71BA-23AE-E1DD3BE5AAC8}"/>
              </a:ext>
            </a:extLst>
          </p:cNvPr>
          <p:cNvSpPr>
            <a:spLocks noGrp="1"/>
          </p:cNvSpPr>
          <p:nvPr>
            <p:ph type="ctrTitle"/>
          </p:nvPr>
        </p:nvSpPr>
        <p:spPr>
          <a:xfrm>
            <a:off x="492388" y="2362410"/>
            <a:ext cx="11205415" cy="1774280"/>
          </a:xfrm>
        </p:spPr>
        <p:txBody>
          <a:bodyPr/>
          <a:lstStyle/>
          <a:p>
            <a:r>
              <a:rPr lang="nl-NL" sz="3600"/>
              <a:t>Kleine uitgaven met een staartje: </a:t>
            </a:r>
            <a:br>
              <a:rPr lang="nl-NL" sz="3600"/>
            </a:br>
            <a:r>
              <a:rPr lang="nl-NL" sz="3600">
                <a:latin typeface="Poppins Light" pitchFamily="2" charset="77"/>
                <a:cs typeface="Poppins Light" pitchFamily="2" charset="77"/>
              </a:rPr>
              <a:t>Een duik in het optimaliseren </a:t>
            </a:r>
            <a:br>
              <a:rPr lang="nl-NL" sz="3600">
                <a:latin typeface="Poppins Light" pitchFamily="2" charset="77"/>
                <a:cs typeface="Poppins Light" pitchFamily="2" charset="77"/>
              </a:rPr>
            </a:br>
            <a:r>
              <a:rPr lang="nl-NL" sz="3600">
                <a:latin typeface="Poppins Light" pitchFamily="2" charset="77"/>
                <a:cs typeface="Poppins Light" pitchFamily="2" charset="77"/>
              </a:rPr>
              <a:t>van indirecte tail spend</a:t>
            </a:r>
          </a:p>
        </p:txBody>
      </p:sp>
      <p:sp>
        <p:nvSpPr>
          <p:cNvPr id="3" name="Ondertitel 2">
            <a:extLst>
              <a:ext uri="{FF2B5EF4-FFF2-40B4-BE49-F238E27FC236}">
                <a16:creationId xmlns:a16="http://schemas.microsoft.com/office/drawing/2014/main" id="{9AC17C7A-F89C-CFFE-6EBB-EE19D6365E53}"/>
              </a:ext>
            </a:extLst>
          </p:cNvPr>
          <p:cNvSpPr>
            <a:spLocks noGrp="1"/>
          </p:cNvSpPr>
          <p:nvPr>
            <p:ph type="subTitle" idx="1"/>
          </p:nvPr>
        </p:nvSpPr>
        <p:spPr>
          <a:xfrm>
            <a:off x="492388" y="4652905"/>
            <a:ext cx="11205414" cy="652496"/>
          </a:xfrm>
        </p:spPr>
        <p:txBody>
          <a:bodyPr/>
          <a:lstStyle/>
          <a:p>
            <a:r>
              <a:rPr lang="nl-NL">
                <a:latin typeface="Poppins Medium" pitchFamily="2" charset="77"/>
                <a:cs typeface="Poppins Medium" pitchFamily="2" charset="77"/>
              </a:rPr>
              <a:t>Robert Weitmann</a:t>
            </a:r>
            <a:br>
              <a:rPr lang="nl-NL">
                <a:latin typeface="Poppins Medium" pitchFamily="2" charset="77"/>
                <a:cs typeface="Poppins Medium" pitchFamily="2" charset="77"/>
              </a:rPr>
            </a:br>
            <a:r>
              <a:rPr lang="nl-NL" sz="1400"/>
              <a:t>Country Manager Benelux</a:t>
            </a:r>
            <a:endParaRPr lang="nl-NL"/>
          </a:p>
        </p:txBody>
      </p:sp>
      <p:sp>
        <p:nvSpPr>
          <p:cNvPr id="4" name="Tijdelijke aanduiding voor tekst 3">
            <a:extLst>
              <a:ext uri="{FF2B5EF4-FFF2-40B4-BE49-F238E27FC236}">
                <a16:creationId xmlns:a16="http://schemas.microsoft.com/office/drawing/2014/main" id="{ED329A39-1E19-1888-DA5B-ACB28697EB2E}"/>
              </a:ext>
            </a:extLst>
          </p:cNvPr>
          <p:cNvSpPr>
            <a:spLocks noGrp="1"/>
          </p:cNvSpPr>
          <p:nvPr>
            <p:ph type="body" sz="quarter" idx="13"/>
          </p:nvPr>
        </p:nvSpPr>
        <p:spPr>
          <a:xfrm>
            <a:off x="492388" y="6045007"/>
            <a:ext cx="667981" cy="140922"/>
          </a:xfrm>
        </p:spPr>
        <p:txBody>
          <a:bodyPr/>
          <a:lstStyle/>
          <a:p>
            <a:r>
              <a:rPr lang="nl-NL"/>
              <a:t>03/10/2023</a:t>
            </a:r>
          </a:p>
        </p:txBody>
      </p:sp>
      <p:pic>
        <p:nvPicPr>
          <p:cNvPr id="6" name="Picture 5">
            <a:extLst>
              <a:ext uri="{FF2B5EF4-FFF2-40B4-BE49-F238E27FC236}">
                <a16:creationId xmlns:a16="http://schemas.microsoft.com/office/drawing/2014/main" id="{CD339142-9CB9-52D7-C3B2-20E0E98C24EA}"/>
              </a:ext>
            </a:extLst>
          </p:cNvPr>
          <p:cNvPicPr>
            <a:picLocks noChangeAspect="1"/>
          </p:cNvPicPr>
          <p:nvPr/>
        </p:nvPicPr>
        <p:blipFill>
          <a:blip r:embed="rId3"/>
          <a:stretch>
            <a:fillRect/>
          </a:stretch>
        </p:blipFill>
        <p:spPr>
          <a:xfrm flipH="1">
            <a:off x="9693392" y="4136690"/>
            <a:ext cx="2498608" cy="2589736"/>
          </a:xfrm>
          <a:prstGeom prst="rect">
            <a:avLst/>
          </a:prstGeom>
        </p:spPr>
      </p:pic>
    </p:spTree>
    <p:extLst>
      <p:ext uri="{BB962C8B-B14F-4D97-AF65-F5344CB8AC3E}">
        <p14:creationId xmlns:p14="http://schemas.microsoft.com/office/powerpoint/2010/main" val="2430763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pSp>
        <p:nvGrpSpPr>
          <p:cNvPr id="50" name="Gruppieren 49">
            <a:extLst>
              <a:ext uri="{FF2B5EF4-FFF2-40B4-BE49-F238E27FC236}">
                <a16:creationId xmlns:a16="http://schemas.microsoft.com/office/drawing/2014/main" id="{5BE1D52D-8941-E847-51E8-A0F5751002DC}"/>
              </a:ext>
            </a:extLst>
          </p:cNvPr>
          <p:cNvGrpSpPr/>
          <p:nvPr/>
        </p:nvGrpSpPr>
        <p:grpSpPr>
          <a:xfrm>
            <a:off x="474496" y="1656664"/>
            <a:ext cx="8606929" cy="4148825"/>
            <a:chOff x="474496" y="1656664"/>
            <a:chExt cx="8606929" cy="4148825"/>
          </a:xfrm>
        </p:grpSpPr>
        <p:sp>
          <p:nvSpPr>
            <p:cNvPr id="49" name="Abgerundetes Rechteck 48">
              <a:extLst>
                <a:ext uri="{FF2B5EF4-FFF2-40B4-BE49-F238E27FC236}">
                  <a16:creationId xmlns:a16="http://schemas.microsoft.com/office/drawing/2014/main" id="{6DC629B1-2F13-FC90-2CCE-A85F8905230F}"/>
                </a:ext>
              </a:extLst>
            </p:cNvPr>
            <p:cNvSpPr/>
            <p:nvPr/>
          </p:nvSpPr>
          <p:spPr>
            <a:xfrm>
              <a:off x="474496" y="1665289"/>
              <a:ext cx="5538065" cy="4140200"/>
            </a:xfrm>
            <a:prstGeom prst="roundRect">
              <a:avLst>
                <a:gd name="adj" fmla="val 3862"/>
              </a:avLst>
            </a:prstGeom>
            <a:solidFill>
              <a:srgbClr val="E2E0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6307" tIns="246307" rIns="246307" bIns="246307" rtlCol="0" anchor="t" anchorCtr="0">
              <a:noAutofit/>
            </a:bodyPr>
            <a:lstStyle/>
            <a:p>
              <a:pPr rtl="0"/>
              <a:endParaRPr lang="de-DE" sz="1254"/>
            </a:p>
          </p:txBody>
        </p:sp>
        <p:sp>
          <p:nvSpPr>
            <p:cNvPr id="48" name="Abgerundetes Rechteck 47">
              <a:extLst>
                <a:ext uri="{FF2B5EF4-FFF2-40B4-BE49-F238E27FC236}">
                  <a16:creationId xmlns:a16="http://schemas.microsoft.com/office/drawing/2014/main" id="{CA4CD3A1-E0BE-492F-2CAE-40E7D23F7410}"/>
                </a:ext>
              </a:extLst>
            </p:cNvPr>
            <p:cNvSpPr/>
            <p:nvPr/>
          </p:nvSpPr>
          <p:spPr>
            <a:xfrm rot="5400000">
              <a:off x="3341875" y="65937"/>
              <a:ext cx="4148824" cy="7330277"/>
            </a:xfrm>
            <a:prstGeom prst="roundRect">
              <a:avLst>
                <a:gd name="adj" fmla="val 50000"/>
              </a:avLst>
            </a:prstGeom>
            <a:solidFill>
              <a:srgbClr val="E2E0E5"/>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grpSp>
      <p:sp>
        <p:nvSpPr>
          <p:cNvPr id="11" name="Abgerundetes Rechteck 10">
            <a:extLst>
              <a:ext uri="{FF2B5EF4-FFF2-40B4-BE49-F238E27FC236}">
                <a16:creationId xmlns:a16="http://schemas.microsoft.com/office/drawing/2014/main" id="{B420566E-69F9-FA19-D2F4-0ECE68053DD6}"/>
              </a:ext>
            </a:extLst>
          </p:cNvPr>
          <p:cNvSpPr/>
          <p:nvPr/>
        </p:nvSpPr>
        <p:spPr>
          <a:xfrm rot="5400000">
            <a:off x="10382140" y="1525196"/>
            <a:ext cx="2516295" cy="4411757"/>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
        <p:nvSpPr>
          <p:cNvPr id="28" name="Titel 27">
            <a:extLst>
              <a:ext uri="{FF2B5EF4-FFF2-40B4-BE49-F238E27FC236}">
                <a16:creationId xmlns:a16="http://schemas.microsoft.com/office/drawing/2014/main" id="{52299B99-4FE3-F060-F2C7-0C1CFA7587E5}"/>
              </a:ext>
            </a:extLst>
          </p:cNvPr>
          <p:cNvSpPr>
            <a:spLocks noGrp="1"/>
          </p:cNvSpPr>
          <p:nvPr>
            <p:ph type="title"/>
          </p:nvPr>
        </p:nvSpPr>
        <p:spPr/>
        <p:txBody>
          <a:bodyPr anchor="t">
            <a:normAutofit/>
          </a:bodyPr>
          <a:lstStyle/>
          <a:p>
            <a:r>
              <a:rPr lang="nl-NL" sz="1800">
                <a:latin typeface="Poppins Medium"/>
                <a:cs typeface="Poppins Medium"/>
              </a:rPr>
              <a:t>Waarom een </a:t>
            </a:r>
            <a:r>
              <a:rPr lang="nl-NL" sz="1800" err="1">
                <a:latin typeface="Poppins Medium"/>
                <a:cs typeface="Poppins Medium"/>
              </a:rPr>
              <a:t>tail</a:t>
            </a:r>
            <a:r>
              <a:rPr lang="nl-NL" sz="1800">
                <a:latin typeface="Poppins Medium"/>
                <a:cs typeface="Poppins Medium"/>
              </a:rPr>
              <a:t> </a:t>
            </a:r>
            <a:r>
              <a:rPr lang="nl-NL" sz="1800" err="1">
                <a:latin typeface="Poppins Medium"/>
                <a:cs typeface="Poppins Medium"/>
              </a:rPr>
              <a:t>spend</a:t>
            </a:r>
            <a:r>
              <a:rPr lang="nl-NL" sz="1800">
                <a:latin typeface="Poppins Medium"/>
                <a:cs typeface="Poppins Medium"/>
              </a:rPr>
              <a:t> strategie?</a:t>
            </a:r>
          </a:p>
        </p:txBody>
      </p:sp>
      <p:sp>
        <p:nvSpPr>
          <p:cNvPr id="6" name="Titel 1">
            <a:extLst>
              <a:ext uri="{FF2B5EF4-FFF2-40B4-BE49-F238E27FC236}">
                <a16:creationId xmlns:a16="http://schemas.microsoft.com/office/drawing/2014/main" id="{156C654C-7CB2-C9A6-AAB2-6B2F4D612448}"/>
              </a:ext>
            </a:extLst>
          </p:cNvPr>
          <p:cNvSpPr txBox="1">
            <a:spLocks/>
          </p:cNvSpPr>
          <p:nvPr/>
        </p:nvSpPr>
        <p:spPr bwMode="gray">
          <a:xfrm>
            <a:off x="508393" y="1679373"/>
            <a:ext cx="4267350" cy="501369"/>
          </a:xfrm>
          <a:prstGeom prst="rect">
            <a:avLst/>
          </a:prstGeom>
        </p:spPr>
        <p:txBody>
          <a:bodyPr vert="horz" lIns="180000" tIns="14400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nSpc>
                <a:spcPct val="113999"/>
              </a:lnSpc>
            </a:pPr>
            <a:r>
              <a:rPr lang="de-DE" sz="1800" err="1">
                <a:latin typeface="Poppins Medium"/>
                <a:cs typeface="Poppins Medium"/>
              </a:rPr>
              <a:t>Voordelen</a:t>
            </a:r>
            <a:endParaRPr lang="nl-NL"/>
          </a:p>
          <a:p>
            <a:pPr>
              <a:lnSpc>
                <a:spcPct val="113999"/>
              </a:lnSpc>
            </a:pPr>
            <a:r>
              <a:rPr lang="de-DE" sz="1200">
                <a:latin typeface="Poppins Light"/>
                <a:cs typeface="Poppins Light"/>
              </a:rPr>
              <a:t>van </a:t>
            </a:r>
            <a:r>
              <a:rPr lang="de-DE" sz="1200" err="1">
                <a:latin typeface="Poppins Light"/>
                <a:cs typeface="Poppins Light"/>
              </a:rPr>
              <a:t>een</a:t>
            </a:r>
            <a:r>
              <a:rPr lang="de-DE" sz="1200">
                <a:latin typeface="Poppins Light"/>
                <a:cs typeface="Poppins Light"/>
              </a:rPr>
              <a:t> </a:t>
            </a:r>
            <a:r>
              <a:rPr lang="de-DE" sz="1200" err="1">
                <a:latin typeface="Poppins Light"/>
                <a:cs typeface="Poppins Light"/>
              </a:rPr>
              <a:t>tail</a:t>
            </a:r>
            <a:r>
              <a:rPr lang="de-DE" sz="1200">
                <a:latin typeface="Poppins Light"/>
                <a:cs typeface="Poppins Light"/>
              </a:rPr>
              <a:t> </a:t>
            </a:r>
            <a:r>
              <a:rPr lang="de-DE" sz="1200" err="1">
                <a:latin typeface="Poppins Light"/>
                <a:cs typeface="Poppins Light"/>
              </a:rPr>
              <a:t>spend</a:t>
            </a:r>
            <a:r>
              <a:rPr lang="de-DE" sz="1200">
                <a:latin typeface="Poppins Light"/>
                <a:cs typeface="Poppins Light"/>
              </a:rPr>
              <a:t> strategie </a:t>
            </a:r>
          </a:p>
        </p:txBody>
      </p:sp>
      <p:sp>
        <p:nvSpPr>
          <p:cNvPr id="7" name="Titel 1">
            <a:extLst>
              <a:ext uri="{FF2B5EF4-FFF2-40B4-BE49-F238E27FC236}">
                <a16:creationId xmlns:a16="http://schemas.microsoft.com/office/drawing/2014/main" id="{10785FFC-51CD-AE0A-E623-21F4B3B9520E}"/>
              </a:ext>
            </a:extLst>
          </p:cNvPr>
          <p:cNvSpPr txBox="1">
            <a:spLocks/>
          </p:cNvSpPr>
          <p:nvPr/>
        </p:nvSpPr>
        <p:spPr bwMode="gray">
          <a:xfrm>
            <a:off x="744952" y="4620891"/>
            <a:ext cx="1376364" cy="597245"/>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latin typeface="Poppins Medium"/>
                <a:cs typeface="Poppins Medium"/>
              </a:rPr>
              <a:t>Gebruikers-tevredenheid</a:t>
            </a:r>
            <a:endParaRPr lang="nl-NL" sz="1200"/>
          </a:p>
        </p:txBody>
      </p:sp>
      <p:sp>
        <p:nvSpPr>
          <p:cNvPr id="4" name="Titel 1">
            <a:extLst>
              <a:ext uri="{FF2B5EF4-FFF2-40B4-BE49-F238E27FC236}">
                <a16:creationId xmlns:a16="http://schemas.microsoft.com/office/drawing/2014/main" id="{61D19B53-F620-6850-30DD-F4C14A112239}"/>
              </a:ext>
            </a:extLst>
          </p:cNvPr>
          <p:cNvSpPr txBox="1">
            <a:spLocks/>
          </p:cNvSpPr>
          <p:nvPr/>
        </p:nvSpPr>
        <p:spPr bwMode="gray">
          <a:xfrm>
            <a:off x="9651492" y="5279464"/>
            <a:ext cx="2046286" cy="641394"/>
          </a:xfrm>
          <a:prstGeom prst="rect">
            <a:avLst/>
          </a:prstGeom>
          <a:ln>
            <a:noFill/>
          </a:ln>
        </p:spPr>
        <p:txBody>
          <a:bodyPr vert="horz" lIns="0" tIns="0" rIns="0" bIns="0" rtlCol="0" anchor="ctr">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r>
              <a:rPr lang="nl-NL" sz="4000" b="1"/>
              <a:t>En nu?</a:t>
            </a:r>
            <a:endParaRPr lang="nl-NL" sz="4000">
              <a:ea typeface="Noto Sans"/>
              <a:cs typeface="Noto Sans"/>
            </a:endParaRPr>
          </a:p>
        </p:txBody>
      </p:sp>
      <p:pic>
        <p:nvPicPr>
          <p:cNvPr id="10" name="Afbeelding 1" descr="Afbeelding met Graphics, clipart, cirkel, ontwerp&#10;&#10;Automatisch gegenereerde beschrijving">
            <a:extLst>
              <a:ext uri="{FF2B5EF4-FFF2-40B4-BE49-F238E27FC236}">
                <a16:creationId xmlns:a16="http://schemas.microsoft.com/office/drawing/2014/main" id="{4CECF583-2409-B1B7-F011-659D2CF79955}"/>
              </a:ext>
            </a:extLst>
          </p:cNvPr>
          <p:cNvPicPr>
            <a:picLocks noChangeAspect="1"/>
          </p:cNvPicPr>
          <p:nvPr/>
        </p:nvPicPr>
        <p:blipFill>
          <a:blip r:embed="rId3"/>
          <a:stretch>
            <a:fillRect/>
          </a:stretch>
        </p:blipFill>
        <p:spPr>
          <a:xfrm>
            <a:off x="9596026" y="2653165"/>
            <a:ext cx="2155820" cy="2155820"/>
          </a:xfrm>
          <a:prstGeom prst="rect">
            <a:avLst/>
          </a:prstGeom>
          <a:noFill/>
        </p:spPr>
      </p:pic>
      <p:sp>
        <p:nvSpPr>
          <p:cNvPr id="23" name="Titel 1">
            <a:extLst>
              <a:ext uri="{FF2B5EF4-FFF2-40B4-BE49-F238E27FC236}">
                <a16:creationId xmlns:a16="http://schemas.microsoft.com/office/drawing/2014/main" id="{10573713-2A02-24F9-83CE-01F935DF52D6}"/>
              </a:ext>
            </a:extLst>
          </p:cNvPr>
          <p:cNvSpPr txBox="1">
            <a:spLocks/>
          </p:cNvSpPr>
          <p:nvPr/>
        </p:nvSpPr>
        <p:spPr bwMode="gray">
          <a:xfrm>
            <a:off x="2088740" y="4590008"/>
            <a:ext cx="1800000" cy="597245"/>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t>Transparantie</a:t>
            </a:r>
          </a:p>
        </p:txBody>
      </p:sp>
      <p:sp>
        <p:nvSpPr>
          <p:cNvPr id="24" name="Titel 1">
            <a:extLst>
              <a:ext uri="{FF2B5EF4-FFF2-40B4-BE49-F238E27FC236}">
                <a16:creationId xmlns:a16="http://schemas.microsoft.com/office/drawing/2014/main" id="{7ECC472D-52CD-8612-4FF8-F8EB666D3FE0}"/>
              </a:ext>
            </a:extLst>
          </p:cNvPr>
          <p:cNvSpPr txBox="1">
            <a:spLocks/>
          </p:cNvSpPr>
          <p:nvPr/>
        </p:nvSpPr>
        <p:spPr bwMode="gray">
          <a:xfrm>
            <a:off x="3681250" y="4590008"/>
            <a:ext cx="1800000" cy="597245"/>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t>Controle</a:t>
            </a:r>
          </a:p>
        </p:txBody>
      </p:sp>
      <p:sp>
        <p:nvSpPr>
          <p:cNvPr id="25" name="Titel 1">
            <a:extLst>
              <a:ext uri="{FF2B5EF4-FFF2-40B4-BE49-F238E27FC236}">
                <a16:creationId xmlns:a16="http://schemas.microsoft.com/office/drawing/2014/main" id="{4ECCA90B-4F5E-D6B9-405F-8C292E97151B}"/>
              </a:ext>
            </a:extLst>
          </p:cNvPr>
          <p:cNvSpPr txBox="1">
            <a:spLocks/>
          </p:cNvSpPr>
          <p:nvPr/>
        </p:nvSpPr>
        <p:spPr bwMode="gray">
          <a:xfrm>
            <a:off x="5286876" y="4590008"/>
            <a:ext cx="1800000" cy="597245"/>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t>Compliance</a:t>
            </a:r>
          </a:p>
        </p:txBody>
      </p:sp>
      <p:sp>
        <p:nvSpPr>
          <p:cNvPr id="30" name="Titel 1">
            <a:extLst>
              <a:ext uri="{FF2B5EF4-FFF2-40B4-BE49-F238E27FC236}">
                <a16:creationId xmlns:a16="http://schemas.microsoft.com/office/drawing/2014/main" id="{CFFA0027-747B-B432-25BC-6170B4171A9A}"/>
              </a:ext>
            </a:extLst>
          </p:cNvPr>
          <p:cNvSpPr txBox="1">
            <a:spLocks/>
          </p:cNvSpPr>
          <p:nvPr/>
        </p:nvSpPr>
        <p:spPr bwMode="gray">
          <a:xfrm>
            <a:off x="6955639" y="4590008"/>
            <a:ext cx="1800000" cy="628128"/>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t>Besparing</a:t>
            </a:r>
          </a:p>
        </p:txBody>
      </p:sp>
      <p:pic>
        <p:nvPicPr>
          <p:cNvPr id="42" name="Grafik 41">
            <a:extLst>
              <a:ext uri="{FF2B5EF4-FFF2-40B4-BE49-F238E27FC236}">
                <a16:creationId xmlns:a16="http://schemas.microsoft.com/office/drawing/2014/main" id="{D30F2728-7212-AFB4-FBAC-F7B51352A2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159734" y="3149941"/>
            <a:ext cx="1284980" cy="1284980"/>
          </a:xfrm>
          <a:prstGeom prst="rect">
            <a:avLst/>
          </a:prstGeom>
        </p:spPr>
      </p:pic>
      <p:pic>
        <p:nvPicPr>
          <p:cNvPr id="44" name="Grafik 43">
            <a:extLst>
              <a:ext uri="{FF2B5EF4-FFF2-40B4-BE49-F238E27FC236}">
                <a16:creationId xmlns:a16="http://schemas.microsoft.com/office/drawing/2014/main" id="{1B30644E-2D0C-3C3F-E419-8B9A39628BB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567463" y="3149941"/>
            <a:ext cx="1284980" cy="1284980"/>
          </a:xfrm>
          <a:prstGeom prst="rect">
            <a:avLst/>
          </a:prstGeom>
        </p:spPr>
      </p:pic>
      <p:pic>
        <p:nvPicPr>
          <p:cNvPr id="45" name="Grafik 44">
            <a:extLst>
              <a:ext uri="{FF2B5EF4-FFF2-40B4-BE49-F238E27FC236}">
                <a16:creationId xmlns:a16="http://schemas.microsoft.com/office/drawing/2014/main" id="{384AE50B-E772-EC12-86BA-51B575F58F1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3975190" y="3149941"/>
            <a:ext cx="1284980" cy="1284980"/>
          </a:xfrm>
          <a:prstGeom prst="rect">
            <a:avLst/>
          </a:prstGeom>
        </p:spPr>
      </p:pic>
      <p:pic>
        <p:nvPicPr>
          <p:cNvPr id="46" name="Grafik 45">
            <a:extLst>
              <a:ext uri="{FF2B5EF4-FFF2-40B4-BE49-F238E27FC236}">
                <a16:creationId xmlns:a16="http://schemas.microsoft.com/office/drawing/2014/main" id="{7E7CCB06-FBDF-B5FE-6EE7-CA5EEB699D9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2428607" y="3149941"/>
            <a:ext cx="1284980" cy="1284980"/>
          </a:xfrm>
          <a:prstGeom prst="rect">
            <a:avLst/>
          </a:prstGeom>
        </p:spPr>
      </p:pic>
      <p:pic>
        <p:nvPicPr>
          <p:cNvPr id="47" name="Grafik 46">
            <a:extLst>
              <a:ext uri="{FF2B5EF4-FFF2-40B4-BE49-F238E27FC236}">
                <a16:creationId xmlns:a16="http://schemas.microsoft.com/office/drawing/2014/main" id="{C779C104-AD60-9E04-984D-F6383F826F7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90644" y="3149941"/>
            <a:ext cx="1284980" cy="1284980"/>
          </a:xfrm>
          <a:prstGeom prst="rect">
            <a:avLst/>
          </a:prstGeom>
        </p:spPr>
      </p:pic>
      <p:cxnSp>
        <p:nvCxnSpPr>
          <p:cNvPr id="52" name="Gerade Verbindung 51">
            <a:extLst>
              <a:ext uri="{FF2B5EF4-FFF2-40B4-BE49-F238E27FC236}">
                <a16:creationId xmlns:a16="http://schemas.microsoft.com/office/drawing/2014/main" id="{A0E99D90-229A-5EA4-4964-7497BF36118E}"/>
              </a:ext>
            </a:extLst>
          </p:cNvPr>
          <p:cNvCxnSpPr>
            <a:stCxn id="48" idx="0"/>
            <a:endCxn id="11" idx="2"/>
          </p:cNvCxnSpPr>
          <p:nvPr/>
        </p:nvCxnSpPr>
        <p:spPr>
          <a:xfrm flipV="1">
            <a:off x="9081426" y="3731075"/>
            <a:ext cx="352983" cy="1"/>
          </a:xfrm>
          <a:prstGeom prst="line">
            <a:avLst/>
          </a:prstGeom>
          <a:ln w="28575">
            <a:solidFill>
              <a:srgbClr val="E2E0E5"/>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A5A87ED-76E6-9C11-926E-5FB6C8210353}"/>
              </a:ext>
            </a:extLst>
          </p:cNvPr>
          <p:cNvGrpSpPr/>
          <p:nvPr/>
        </p:nvGrpSpPr>
        <p:grpSpPr>
          <a:xfrm>
            <a:off x="9240526" y="2297664"/>
            <a:ext cx="2866820" cy="2866820"/>
            <a:chOff x="8654212" y="-309194"/>
            <a:chExt cx="2866820" cy="2866820"/>
          </a:xfrm>
        </p:grpSpPr>
        <p:sp>
          <p:nvSpPr>
            <p:cNvPr id="12" name="Oval 11">
              <a:extLst>
                <a:ext uri="{FF2B5EF4-FFF2-40B4-BE49-F238E27FC236}">
                  <a16:creationId xmlns:a16="http://schemas.microsoft.com/office/drawing/2014/main" id="{5D5F5983-DCD6-AC5A-343D-635F5E5EA63A}"/>
                </a:ext>
              </a:extLst>
            </p:cNvPr>
            <p:cNvSpPr/>
            <p:nvPr/>
          </p:nvSpPr>
          <p:spPr>
            <a:xfrm>
              <a:off x="9111948" y="148542"/>
              <a:ext cx="1951348" cy="1951348"/>
            </a:xfrm>
            <a:prstGeom prst="ellipse">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en-NL" sz="1100" err="1"/>
            </a:p>
          </p:txBody>
        </p:sp>
        <p:pic>
          <p:nvPicPr>
            <p:cNvPr id="14" name="Picture 4" descr="unite-logo_icon_gradient_rgb">
              <a:extLst>
                <a:ext uri="{FF2B5EF4-FFF2-40B4-BE49-F238E27FC236}">
                  <a16:creationId xmlns:a16="http://schemas.microsoft.com/office/drawing/2014/main" id="{DF353C89-97A0-BD1C-2380-F0EA79FCD6A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54212" y="-309194"/>
              <a:ext cx="2866820" cy="286682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01058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4">
            <a:extLst>
              <a:ext uri="{FF2B5EF4-FFF2-40B4-BE49-F238E27FC236}">
                <a16:creationId xmlns:a16="http://schemas.microsoft.com/office/drawing/2014/main" id="{8C31171A-B468-C9CA-C0F3-8D42B520BFFB}"/>
              </a:ext>
            </a:extLst>
          </p:cNvPr>
          <p:cNvSpPr/>
          <p:nvPr/>
        </p:nvSpPr>
        <p:spPr>
          <a:xfrm>
            <a:off x="7152577" y="3862331"/>
            <a:ext cx="4559998" cy="1957242"/>
          </a:xfrm>
          <a:prstGeom prst="roundRect">
            <a:avLst>
              <a:gd name="adj" fmla="val 3862"/>
            </a:avLst>
          </a:prstGeom>
          <a:solidFill>
            <a:srgbClr val="E2E0E5">
              <a:alpha val="74902"/>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6307" tIns="246307" rIns="246307" bIns="246307" rtlCol="0" anchor="t" anchorCtr="0">
            <a:noAutofit/>
          </a:bodyPr>
          <a:lstStyle/>
          <a:p>
            <a:pPr rtl="0"/>
            <a:endParaRPr lang="de-DE" sz="1254"/>
          </a:p>
        </p:txBody>
      </p:sp>
      <p:grpSp>
        <p:nvGrpSpPr>
          <p:cNvPr id="35" name="Gruppieren 34">
            <a:extLst>
              <a:ext uri="{FF2B5EF4-FFF2-40B4-BE49-F238E27FC236}">
                <a16:creationId xmlns:a16="http://schemas.microsoft.com/office/drawing/2014/main" id="{8FD765C1-3972-4D5E-191E-4302CED153A0}"/>
              </a:ext>
            </a:extLst>
          </p:cNvPr>
          <p:cNvGrpSpPr/>
          <p:nvPr/>
        </p:nvGrpSpPr>
        <p:grpSpPr>
          <a:xfrm>
            <a:off x="492387" y="1665289"/>
            <a:ext cx="6417819" cy="4140201"/>
            <a:chOff x="492387" y="1665289"/>
            <a:chExt cx="6417819" cy="4140201"/>
          </a:xfrm>
        </p:grpSpPr>
        <p:sp>
          <p:nvSpPr>
            <p:cNvPr id="16" name="Abgerundetes Rechteck 15">
              <a:extLst>
                <a:ext uri="{FF2B5EF4-FFF2-40B4-BE49-F238E27FC236}">
                  <a16:creationId xmlns:a16="http://schemas.microsoft.com/office/drawing/2014/main" id="{DCAEB59E-13B4-6B77-86A4-AA559731F97C}"/>
                </a:ext>
              </a:extLst>
            </p:cNvPr>
            <p:cNvSpPr/>
            <p:nvPr/>
          </p:nvSpPr>
          <p:spPr>
            <a:xfrm>
              <a:off x="492387" y="1665289"/>
              <a:ext cx="6417819" cy="4140200"/>
            </a:xfrm>
            <a:prstGeom prst="roundRect">
              <a:avLst>
                <a:gd name="adj" fmla="val 3862"/>
              </a:avLst>
            </a:prstGeom>
            <a:gradFill>
              <a:gsLst>
                <a:gs pos="20000">
                  <a:schemeClr val="accent1"/>
                </a:gs>
                <a:gs pos="80000">
                  <a:schemeClr val="accent2"/>
                </a:gs>
              </a:gsLst>
              <a:lin ang="186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lIns="246307" tIns="246307" rIns="246307" bIns="246307" rtlCol="0" anchor="t" anchorCtr="0">
              <a:noAutofit/>
            </a:bodyPr>
            <a:lstStyle/>
            <a:p>
              <a:pPr algn="l"/>
              <a:endParaRPr lang="de-DE" sz="1254"/>
            </a:p>
          </p:txBody>
        </p:sp>
        <p:pic>
          <p:nvPicPr>
            <p:cNvPr id="27" name="Grafik 26">
              <a:extLst>
                <a:ext uri="{FF2B5EF4-FFF2-40B4-BE49-F238E27FC236}">
                  <a16:creationId xmlns:a16="http://schemas.microsoft.com/office/drawing/2014/main" id="{0128FBB1-BC41-B901-21CC-2D994C071106}"/>
                </a:ext>
              </a:extLst>
            </p:cNvPr>
            <p:cNvPicPr>
              <a:picLocks noChangeAspect="1"/>
            </p:cNvPicPr>
            <p:nvPr/>
          </p:nvPicPr>
          <p:blipFill rotWithShape="1">
            <a:blip r:embed="rId3">
              <a:alphaModFix amt="45000"/>
            </a:blip>
            <a:srcRect l="3874" r="21177"/>
            <a:stretch/>
          </p:blipFill>
          <p:spPr>
            <a:xfrm>
              <a:off x="1017588" y="1665290"/>
              <a:ext cx="5887832" cy="4140200"/>
            </a:xfrm>
            <a:prstGeom prst="roundRect">
              <a:avLst>
                <a:gd name="adj" fmla="val 4323"/>
              </a:avLst>
            </a:prstGeom>
          </p:spPr>
        </p:pic>
      </p:grpSp>
      <p:sp>
        <p:nvSpPr>
          <p:cNvPr id="11" name="Titel 10">
            <a:extLst>
              <a:ext uri="{FF2B5EF4-FFF2-40B4-BE49-F238E27FC236}">
                <a16:creationId xmlns:a16="http://schemas.microsoft.com/office/drawing/2014/main" id="{9C6F7038-D147-1CAF-403C-CFC27A147379}"/>
              </a:ext>
            </a:extLst>
          </p:cNvPr>
          <p:cNvSpPr>
            <a:spLocks noGrp="1"/>
          </p:cNvSpPr>
          <p:nvPr>
            <p:ph type="title"/>
          </p:nvPr>
        </p:nvSpPr>
        <p:spPr>
          <a:xfrm>
            <a:off x="492387" y="496088"/>
            <a:ext cx="11220188" cy="628128"/>
          </a:xfrm>
        </p:spPr>
        <p:txBody>
          <a:bodyPr/>
          <a:lstStyle/>
          <a:p>
            <a:r>
              <a:rPr lang="de-DE" dirty="0"/>
              <a:t>Neutrale </a:t>
            </a:r>
            <a:r>
              <a:rPr lang="de-DE" dirty="0" err="1"/>
              <a:t>eMarktplaats</a:t>
            </a:r>
            <a:r>
              <a:rPr lang="de-DE" dirty="0"/>
              <a:t> &amp; </a:t>
            </a:r>
            <a:r>
              <a:rPr lang="de-DE" dirty="0" err="1"/>
              <a:t>leveranciersnetwerk</a:t>
            </a:r>
            <a:endParaRPr lang="de-DE" dirty="0"/>
          </a:p>
        </p:txBody>
      </p:sp>
      <p:sp>
        <p:nvSpPr>
          <p:cNvPr id="15" name="Abgerundetes Rechteck 14">
            <a:extLst>
              <a:ext uri="{FF2B5EF4-FFF2-40B4-BE49-F238E27FC236}">
                <a16:creationId xmlns:a16="http://schemas.microsoft.com/office/drawing/2014/main" id="{2FABE7A4-660C-3082-8F98-65EE1153C5AA}"/>
              </a:ext>
            </a:extLst>
          </p:cNvPr>
          <p:cNvSpPr/>
          <p:nvPr/>
        </p:nvSpPr>
        <p:spPr>
          <a:xfrm>
            <a:off x="7156450" y="1665289"/>
            <a:ext cx="4559998" cy="2080634"/>
          </a:xfrm>
          <a:prstGeom prst="roundRect">
            <a:avLst>
              <a:gd name="adj" fmla="val 3862"/>
            </a:avLst>
          </a:prstGeom>
          <a:solidFill>
            <a:srgbClr val="E2E0E5">
              <a:alpha val="74902"/>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6307" tIns="246307" rIns="246307" bIns="246307" rtlCol="0" anchor="t" anchorCtr="0">
            <a:noAutofit/>
          </a:bodyPr>
          <a:lstStyle/>
          <a:p>
            <a:pPr rtl="0"/>
            <a:endParaRPr lang="de-DE" sz="1254"/>
          </a:p>
        </p:txBody>
      </p:sp>
      <p:sp>
        <p:nvSpPr>
          <p:cNvPr id="18" name="Titel 1">
            <a:extLst>
              <a:ext uri="{FF2B5EF4-FFF2-40B4-BE49-F238E27FC236}">
                <a16:creationId xmlns:a16="http://schemas.microsoft.com/office/drawing/2014/main" id="{0735133B-BEFC-FEDF-F8B0-C957D5AC36AC}"/>
              </a:ext>
            </a:extLst>
          </p:cNvPr>
          <p:cNvSpPr txBox="1">
            <a:spLocks/>
          </p:cNvSpPr>
          <p:nvPr/>
        </p:nvSpPr>
        <p:spPr bwMode="gray">
          <a:xfrm>
            <a:off x="7151663" y="1679373"/>
            <a:ext cx="4267350" cy="501369"/>
          </a:xfrm>
          <a:prstGeom prst="rect">
            <a:avLst/>
          </a:prstGeom>
        </p:spPr>
        <p:txBody>
          <a:bodyPr vert="horz" lIns="180000" tIns="14400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nSpc>
                <a:spcPct val="113999"/>
              </a:lnSpc>
            </a:pPr>
            <a:r>
              <a:rPr lang="de-DE" sz="1800" err="1">
                <a:latin typeface="Poppins Medium"/>
                <a:cs typeface="Poppins Medium"/>
              </a:rPr>
              <a:t>Klanten</a:t>
            </a:r>
            <a:endParaRPr lang="de-DE" sz="1800"/>
          </a:p>
        </p:txBody>
      </p:sp>
      <p:pic>
        <p:nvPicPr>
          <p:cNvPr id="20" name="Afbeelding 2" descr="Afbeelding met tekst, Lettertype, Graphics, logo&#10;&#10;Automatisch gegenereerde beschrijving">
            <a:extLst>
              <a:ext uri="{FF2B5EF4-FFF2-40B4-BE49-F238E27FC236}">
                <a16:creationId xmlns:a16="http://schemas.microsoft.com/office/drawing/2014/main" id="{B7E0E880-0828-CC8F-2004-2AB8020FA6DD}"/>
              </a:ext>
            </a:extLst>
          </p:cNvPr>
          <p:cNvPicPr>
            <a:picLocks noChangeAspect="1"/>
          </p:cNvPicPr>
          <p:nvPr/>
        </p:nvPicPr>
        <p:blipFill>
          <a:blip r:embed="rId4"/>
          <a:stretch>
            <a:fillRect/>
          </a:stretch>
        </p:blipFill>
        <p:spPr>
          <a:xfrm>
            <a:off x="3227370" y="2183307"/>
            <a:ext cx="1748424" cy="683513"/>
          </a:xfrm>
          <a:prstGeom prst="rect">
            <a:avLst/>
          </a:prstGeom>
        </p:spPr>
      </p:pic>
      <p:pic>
        <p:nvPicPr>
          <p:cNvPr id="21" name="Afbeelding 3" descr="Afbeelding met Graphics, Lettertype, grafische vormgeving, schermopname&#10;&#10;Automatisch gegenereerde beschrijving">
            <a:hlinkClick r:id="rId5"/>
            <a:extLst>
              <a:ext uri="{FF2B5EF4-FFF2-40B4-BE49-F238E27FC236}">
                <a16:creationId xmlns:a16="http://schemas.microsoft.com/office/drawing/2014/main" id="{4FD4C477-30F3-562D-F8A6-12587517263F}"/>
              </a:ext>
            </a:extLst>
          </p:cNvPr>
          <p:cNvPicPr>
            <a:picLocks noChangeAspect="1"/>
          </p:cNvPicPr>
          <p:nvPr/>
        </p:nvPicPr>
        <p:blipFill>
          <a:blip r:embed="rId6"/>
          <a:stretch>
            <a:fillRect/>
          </a:stretch>
        </p:blipFill>
        <p:spPr>
          <a:xfrm>
            <a:off x="7957703" y="2389582"/>
            <a:ext cx="1187811" cy="365818"/>
          </a:xfrm>
          <a:prstGeom prst="rect">
            <a:avLst/>
          </a:prstGeom>
        </p:spPr>
      </p:pic>
      <p:pic>
        <p:nvPicPr>
          <p:cNvPr id="22" name="Afbeelding 5" descr="Afbeelding met Graphics, ontwerp&#10;&#10;Automatisch gegenereerde beschrijving">
            <a:hlinkClick r:id="rId7"/>
            <a:extLst>
              <a:ext uri="{FF2B5EF4-FFF2-40B4-BE49-F238E27FC236}">
                <a16:creationId xmlns:a16="http://schemas.microsoft.com/office/drawing/2014/main" id="{7A7D572D-1E5A-0E00-6452-2E87A356E510}"/>
              </a:ext>
            </a:extLst>
          </p:cNvPr>
          <p:cNvPicPr>
            <a:picLocks noChangeAspect="1"/>
          </p:cNvPicPr>
          <p:nvPr/>
        </p:nvPicPr>
        <p:blipFill>
          <a:blip r:embed="rId8"/>
          <a:stretch>
            <a:fillRect/>
          </a:stretch>
        </p:blipFill>
        <p:spPr>
          <a:xfrm>
            <a:off x="9179459" y="3059810"/>
            <a:ext cx="2051919" cy="358443"/>
          </a:xfrm>
          <a:prstGeom prst="rect">
            <a:avLst/>
          </a:prstGeom>
        </p:spPr>
      </p:pic>
      <p:pic>
        <p:nvPicPr>
          <p:cNvPr id="23" name="Afbeelding 6" descr="Afbeelding met Lettertype, Graphics, schermopname, logo&#10;&#10;Automatisch gegenereerde beschrijving">
            <a:extLst>
              <a:ext uri="{FF2B5EF4-FFF2-40B4-BE49-F238E27FC236}">
                <a16:creationId xmlns:a16="http://schemas.microsoft.com/office/drawing/2014/main" id="{764AA252-EA1E-F1BD-CA34-6106A4CEE9FB}"/>
              </a:ext>
            </a:extLst>
          </p:cNvPr>
          <p:cNvPicPr>
            <a:picLocks noChangeAspect="1"/>
          </p:cNvPicPr>
          <p:nvPr/>
        </p:nvPicPr>
        <p:blipFill>
          <a:blip r:embed="rId9"/>
          <a:stretch>
            <a:fillRect/>
          </a:stretch>
        </p:blipFill>
        <p:spPr>
          <a:xfrm>
            <a:off x="7552543" y="3059810"/>
            <a:ext cx="1064369" cy="374012"/>
          </a:xfrm>
          <a:prstGeom prst="rect">
            <a:avLst/>
          </a:prstGeom>
        </p:spPr>
      </p:pic>
      <p:pic>
        <p:nvPicPr>
          <p:cNvPr id="24" name="Afbeelding 8" descr="Afbeelding met Heteluchtballon, ballon, vliegtuig, transport&#10;&#10;Automatisch gegenereerde beschrijving">
            <a:extLst>
              <a:ext uri="{FF2B5EF4-FFF2-40B4-BE49-F238E27FC236}">
                <a16:creationId xmlns:a16="http://schemas.microsoft.com/office/drawing/2014/main" id="{2FF5D8D5-0DE8-D1C9-8213-D3A653881F1B}"/>
              </a:ext>
            </a:extLst>
          </p:cNvPr>
          <p:cNvPicPr>
            <a:picLocks noChangeAspect="1"/>
          </p:cNvPicPr>
          <p:nvPr/>
        </p:nvPicPr>
        <p:blipFill>
          <a:blip r:embed="rId10"/>
          <a:stretch>
            <a:fillRect/>
          </a:stretch>
        </p:blipFill>
        <p:spPr>
          <a:xfrm>
            <a:off x="9741813" y="2194826"/>
            <a:ext cx="1489565" cy="737926"/>
          </a:xfrm>
          <a:prstGeom prst="rect">
            <a:avLst/>
          </a:prstGeom>
        </p:spPr>
      </p:pic>
      <p:sp>
        <p:nvSpPr>
          <p:cNvPr id="25" name="TextBox 1">
            <a:extLst>
              <a:ext uri="{FF2B5EF4-FFF2-40B4-BE49-F238E27FC236}">
                <a16:creationId xmlns:a16="http://schemas.microsoft.com/office/drawing/2014/main" id="{5ADE1FB4-4EA1-BECC-AE68-C69386EC94E9}"/>
              </a:ext>
            </a:extLst>
          </p:cNvPr>
          <p:cNvSpPr txBox="1"/>
          <p:nvPr/>
        </p:nvSpPr>
        <p:spPr>
          <a:xfrm>
            <a:off x="3274397" y="3368404"/>
            <a:ext cx="3162530" cy="1565813"/>
          </a:xfrm>
          <a:prstGeom prst="rect">
            <a:avLst/>
          </a:prstGeom>
          <a:noFill/>
        </p:spPr>
        <p:txBody>
          <a:bodyPr wrap="square" lIns="0" tIns="0" rIns="0" bIns="0" rtlCol="0" anchor="t">
            <a:spAutoFit/>
          </a:bodyPr>
          <a:lstStyle/>
          <a:p>
            <a:pPr defTabSz="798820">
              <a:lnSpc>
                <a:spcPct val="130000"/>
              </a:lnSpc>
              <a:spcAft>
                <a:spcPts val="1200"/>
              </a:spcAft>
              <a:buClr>
                <a:schemeClr val="bg2"/>
              </a:buClr>
              <a:buSzPct val="120000"/>
            </a:pPr>
            <a:r>
              <a:rPr lang="nl-NL" sz="1400" dirty="0">
                <a:solidFill>
                  <a:schemeClr val="bg2"/>
                </a:solidFill>
                <a:latin typeface="Poppins"/>
                <a:ea typeface="Noto Sans"/>
                <a:cs typeface="Poppins"/>
              </a:rPr>
              <a:t>Opgericht in 2000</a:t>
            </a:r>
          </a:p>
          <a:p>
            <a:pPr defTabSz="798820">
              <a:lnSpc>
                <a:spcPct val="130000"/>
              </a:lnSpc>
              <a:spcAft>
                <a:spcPts val="1200"/>
              </a:spcAft>
              <a:buClr>
                <a:schemeClr val="bg2"/>
              </a:buClr>
              <a:buSzPct val="120000"/>
            </a:pPr>
            <a:r>
              <a:rPr lang="nl-NL" sz="1400" dirty="0">
                <a:solidFill>
                  <a:schemeClr val="bg2"/>
                </a:solidFill>
                <a:latin typeface="Poppins"/>
                <a:ea typeface="Noto Sans"/>
                <a:cs typeface="Poppins"/>
              </a:rPr>
              <a:t>Actief in 14 landen</a:t>
            </a:r>
          </a:p>
          <a:p>
            <a:pPr defTabSz="798820">
              <a:lnSpc>
                <a:spcPct val="130000"/>
              </a:lnSpc>
              <a:spcAft>
                <a:spcPts val="1200"/>
              </a:spcAft>
              <a:buClr>
                <a:schemeClr val="bg2"/>
              </a:buClr>
              <a:buSzPct val="120000"/>
            </a:pPr>
            <a:r>
              <a:rPr lang="nl-NL" sz="1400" dirty="0">
                <a:solidFill>
                  <a:schemeClr val="bg2"/>
                </a:solidFill>
                <a:latin typeface="Poppins"/>
                <a:ea typeface="Noto Sans"/>
                <a:cs typeface="Poppins"/>
              </a:rPr>
              <a:t>Aantal werknemers: 800 </a:t>
            </a:r>
            <a:endParaRPr lang="nl-NL" sz="1400" dirty="0">
              <a:solidFill>
                <a:schemeClr val="bg2"/>
              </a:solidFill>
              <a:latin typeface="Poppins" pitchFamily="2" charset="77"/>
              <a:ea typeface="Noto Sans"/>
              <a:cs typeface="Poppins" pitchFamily="2" charset="77"/>
            </a:endParaRPr>
          </a:p>
          <a:p>
            <a:pPr defTabSz="798820">
              <a:lnSpc>
                <a:spcPct val="130000"/>
              </a:lnSpc>
              <a:spcAft>
                <a:spcPts val="1200"/>
              </a:spcAft>
              <a:buClr>
                <a:schemeClr val="bg2"/>
              </a:buClr>
              <a:buSzPct val="120000"/>
            </a:pPr>
            <a:r>
              <a:rPr lang="nl-NL" sz="1400" dirty="0">
                <a:solidFill>
                  <a:schemeClr val="bg2"/>
                </a:solidFill>
                <a:latin typeface="Poppins"/>
                <a:ea typeface="Noto Sans"/>
                <a:cs typeface="Poppins"/>
              </a:rPr>
              <a:t>Jaaromzet: € 447,7 miljoen (2022)</a:t>
            </a:r>
            <a:endParaRPr lang="nl-NL" sz="1400" dirty="0">
              <a:solidFill>
                <a:schemeClr val="bg2"/>
              </a:solidFill>
              <a:latin typeface="Poppins"/>
              <a:cs typeface="Poppins"/>
            </a:endParaRPr>
          </a:p>
        </p:txBody>
      </p:sp>
      <p:sp>
        <p:nvSpPr>
          <p:cNvPr id="33" name="Abgerundetes Rechteck 32">
            <a:extLst>
              <a:ext uri="{FF2B5EF4-FFF2-40B4-BE49-F238E27FC236}">
                <a16:creationId xmlns:a16="http://schemas.microsoft.com/office/drawing/2014/main" id="{25C8A4F6-0CDE-4172-C182-29298728C3F7}"/>
              </a:ext>
            </a:extLst>
          </p:cNvPr>
          <p:cNvSpPr/>
          <p:nvPr/>
        </p:nvSpPr>
        <p:spPr>
          <a:xfrm rot="5400000">
            <a:off x="-752176" y="1525196"/>
            <a:ext cx="2516295" cy="4411757"/>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34" name="Afbeelding 1" descr="Afbeelding met Graphics, clipart, cirkel, ontwerp&#10;&#10;Automatisch gegenereerde beschrijving">
            <a:extLst>
              <a:ext uri="{FF2B5EF4-FFF2-40B4-BE49-F238E27FC236}">
                <a16:creationId xmlns:a16="http://schemas.microsoft.com/office/drawing/2014/main" id="{C88A683F-6BAB-A8B2-BC85-5CE8DC76FEC3}"/>
              </a:ext>
            </a:extLst>
          </p:cNvPr>
          <p:cNvPicPr>
            <a:picLocks noChangeAspect="1"/>
          </p:cNvPicPr>
          <p:nvPr/>
        </p:nvPicPr>
        <p:blipFill>
          <a:blip r:embed="rId11"/>
          <a:stretch>
            <a:fillRect/>
          </a:stretch>
        </p:blipFill>
        <p:spPr>
          <a:xfrm>
            <a:off x="395104" y="2653165"/>
            <a:ext cx="2155820" cy="2155820"/>
          </a:xfrm>
          <a:prstGeom prst="rect">
            <a:avLst/>
          </a:prstGeom>
          <a:noFill/>
        </p:spPr>
      </p:pic>
      <p:grpSp>
        <p:nvGrpSpPr>
          <p:cNvPr id="29" name="Group 28">
            <a:extLst>
              <a:ext uri="{FF2B5EF4-FFF2-40B4-BE49-F238E27FC236}">
                <a16:creationId xmlns:a16="http://schemas.microsoft.com/office/drawing/2014/main" id="{039EE5ED-5AD0-DFDA-E251-4146ED79881A}"/>
              </a:ext>
            </a:extLst>
          </p:cNvPr>
          <p:cNvGrpSpPr/>
          <p:nvPr/>
        </p:nvGrpSpPr>
        <p:grpSpPr>
          <a:xfrm>
            <a:off x="39604" y="2297664"/>
            <a:ext cx="2866820" cy="2866820"/>
            <a:chOff x="8654212" y="-309194"/>
            <a:chExt cx="2866820" cy="2866820"/>
          </a:xfrm>
        </p:grpSpPr>
        <p:sp>
          <p:nvSpPr>
            <p:cNvPr id="30" name="Oval 29">
              <a:extLst>
                <a:ext uri="{FF2B5EF4-FFF2-40B4-BE49-F238E27FC236}">
                  <a16:creationId xmlns:a16="http://schemas.microsoft.com/office/drawing/2014/main" id="{EE1C8D78-F90E-DC1E-11BC-9771A94A59D3}"/>
                </a:ext>
              </a:extLst>
            </p:cNvPr>
            <p:cNvSpPr/>
            <p:nvPr/>
          </p:nvSpPr>
          <p:spPr>
            <a:xfrm>
              <a:off x="9111948" y="148542"/>
              <a:ext cx="1951348" cy="1951348"/>
            </a:xfrm>
            <a:prstGeom prst="ellipse">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en-NL" sz="1100" err="1"/>
            </a:p>
          </p:txBody>
        </p:sp>
        <p:pic>
          <p:nvPicPr>
            <p:cNvPr id="32" name="Picture 4" descr="unite-logo_icon_gradient_rgb">
              <a:extLst>
                <a:ext uri="{FF2B5EF4-FFF2-40B4-BE49-F238E27FC236}">
                  <a16:creationId xmlns:a16="http://schemas.microsoft.com/office/drawing/2014/main" id="{1B1AD104-9D0A-DE62-AC5D-016F63DF39C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54212" y="-309194"/>
              <a:ext cx="2866820" cy="286682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6" name="Picture 8" descr="Feb 27 SAP Community Calls: Intro to SAP Ariba | SAP Blogs">
            <a:hlinkClick r:id="rId13"/>
            <a:extLst>
              <a:ext uri="{FF2B5EF4-FFF2-40B4-BE49-F238E27FC236}">
                <a16:creationId xmlns:a16="http://schemas.microsoft.com/office/drawing/2014/main" id="{5C1E7310-DB76-0B5F-E407-A13997A2AAA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481642" y="4542451"/>
            <a:ext cx="2051919" cy="39943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oupa - Business Spend Management Software">
            <a:hlinkClick r:id="rId15"/>
            <a:extLst>
              <a:ext uri="{FF2B5EF4-FFF2-40B4-BE49-F238E27FC236}">
                <a16:creationId xmlns:a16="http://schemas.microsoft.com/office/drawing/2014/main" id="{2723AE94-D4AD-E70F-79CC-23DC43DE49DF}"/>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ackgroundRemoval t="10000" b="90000" l="10000" r="90000">
                        <a14:foregroundMark x1="38500" y1="41786" x2="39083" y2="37161"/>
                        <a14:foregroundMark x1="46083" y1="39075" x2="48750" y2="47528"/>
                        <a14:foregroundMark x1="58000" y1="35885" x2="59333" y2="47528"/>
                        <a14:foregroundMark x1="68500" y1="36842" x2="69167" y2="52951"/>
                        <a14:foregroundMark x1="80500" y1="32695" x2="85000" y2="32855"/>
                        <a14:foregroundMark x1="29917" y1="44817" x2="29417" y2="46890"/>
                        <a14:foregroundMark x1="24000" y1="38278" x2="21583" y2="34769"/>
                        <a14:foregroundMark x1="24333" y1="34450" x2="24583" y2="43062"/>
                        <a14:foregroundMark x1="23083" y1="43062" x2="16333" y2="41946"/>
                        <a14:foregroundMark x1="16333" y1="41946" x2="19583" y2="49761"/>
                        <a14:foregroundMark x1="19583" y1="49761" x2="25333" y2="48963"/>
                        <a14:foregroundMark x1="25333" y1="48963" x2="28000" y2="34290"/>
                        <a14:foregroundMark x1="28000" y1="34290" x2="24000" y2="25837"/>
                        <a14:foregroundMark x1="24000" y1="25837" x2="18167" y2="35407"/>
                        <a14:foregroundMark x1="18167" y1="35407" x2="17333" y2="41308"/>
                      </a14:backgroundRemoval>
                    </a14:imgEffect>
                  </a14:imgLayer>
                </a14:imgProps>
              </a:ext>
              <a:ext uri="{28A0092B-C50C-407E-A947-70E740481C1C}">
                <a14:useLocalDpi xmlns:a14="http://schemas.microsoft.com/office/drawing/2010/main" val="0"/>
              </a:ext>
            </a:extLst>
          </a:blip>
          <a:srcRect/>
          <a:stretch>
            <a:fillRect/>
          </a:stretch>
        </p:blipFill>
        <p:spPr bwMode="auto">
          <a:xfrm>
            <a:off x="9587764" y="4907930"/>
            <a:ext cx="1797662" cy="93927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Onventis | Amazon Business">
            <a:extLst>
              <a:ext uri="{FF2B5EF4-FFF2-40B4-BE49-F238E27FC236}">
                <a16:creationId xmlns:a16="http://schemas.microsoft.com/office/drawing/2014/main" id="{CDCD3A63-EA0F-0254-48B3-50562DD06518}"/>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9940" b="89910" l="6828" r="93862">
                        <a14:foregroundMark x1="16552" y1="54367" x2="14759" y2="61446"/>
                        <a14:foregroundMark x1="15793" y1="53765" x2="14985" y2="51258"/>
                        <a14:foregroundMark x1="8544" y1="51814" x2="8419" y2="58724"/>
                        <a14:foregroundMark x1="13866" y1="61587" x2="15241" y2="54669"/>
                        <a14:foregroundMark x1="34345" y1="50904" x2="36138" y2="61747"/>
                        <a14:foregroundMark x1="36138" y1="61747" x2="39655" y2="56175"/>
                        <a14:foregroundMark x1="39655" y1="56175" x2="42414" y2="43675"/>
                        <a14:foregroundMark x1="46276" y1="57530" x2="46207" y2="56627"/>
                        <a14:foregroundMark x1="59172" y1="48795" x2="58552" y2="57530"/>
                        <a14:foregroundMark x1="74483" y1="39910" x2="72759" y2="61747"/>
                        <a14:foregroundMark x1="82276" y1="44428" x2="82345" y2="59488"/>
                        <a14:foregroundMark x1="82345" y1="59488" x2="80690" y2="65512"/>
                        <a14:foregroundMark x1="83931" y1="33283" x2="82414" y2="32530"/>
                        <a14:foregroundMark x1="88897" y1="45783" x2="90138" y2="65512"/>
                        <a14:foregroundMark x1="93931" y1="43825" x2="89931" y2="43675"/>
                        <a14:foregroundMark x1="8552" y1="49247" x2="6828" y2="59789"/>
                        <a14:foregroundMark x1="6828" y1="59789" x2="8966" y2="68825"/>
                        <a14:foregroundMark x1="8966" y1="68825" x2="14000" y2="63404"/>
                        <a14:foregroundMark x1="14000" y1="63404" x2="15724" y2="53012"/>
                        <a14:foregroundMark x1="15724" y1="53012" x2="15379" y2="46235"/>
                        <a14:foregroundMark x1="13793" y1="46687" x2="14897" y2="52259"/>
                        <a14:foregroundMark x1="10897" y1="46988" x2="9310" y2="51355"/>
                        <a14:backgroundMark x1="11558" y1="47957" x2="11586" y2="47440"/>
                        <a14:backgroundMark x1="10703" y1="63911" x2="11282" y2="53118"/>
                        <a14:backgroundMark x1="10069" y1="62048" x2="11310" y2="59337"/>
                        <a14:backgroundMark x1="11655" y1="59187" x2="11901" y2="51413"/>
                        <a14:backgroundMark x1="12000" y1="56175" x2="9728" y2="62289"/>
                        <a14:backgroundMark x1="9879" y1="62927" x2="12552" y2="59036"/>
                        <a14:backgroundMark x1="12552" y1="59036" x2="12621" y2="59337"/>
                        <a14:backgroundMark x1="12552" y1="59036" x2="10021" y2="63527"/>
                        <a14:backgroundMark x1="9524" y1="61427" x2="10000" y2="55572"/>
                        <a14:backgroundMark x1="10000" y1="55572" x2="10690" y2="54970"/>
                        <a14:backgroundMark x1="12627" y1="47727" x2="11522" y2="47904"/>
                      </a14:backgroundRemoval>
                    </a14:imgEffect>
                  </a14:imgLayer>
                </a14:imgProps>
              </a:ext>
              <a:ext uri="{28A0092B-C50C-407E-A947-70E740481C1C}">
                <a14:useLocalDpi xmlns:a14="http://schemas.microsoft.com/office/drawing/2010/main" val="0"/>
              </a:ext>
            </a:extLst>
          </a:blip>
          <a:srcRect/>
          <a:stretch>
            <a:fillRect/>
          </a:stretch>
        </p:blipFill>
        <p:spPr bwMode="auto">
          <a:xfrm>
            <a:off x="7646211" y="4941881"/>
            <a:ext cx="1371630" cy="628128"/>
          </a:xfrm>
          <a:prstGeom prst="rect">
            <a:avLst/>
          </a:prstGeom>
          <a:noFill/>
          <a:extLst>
            <a:ext uri="{909E8E84-426E-40DD-AFC4-6F175D3DCCD1}">
              <a14:hiddenFill xmlns:a14="http://schemas.microsoft.com/office/drawing/2010/main">
                <a:solidFill>
                  <a:srgbClr val="FFFFFF"/>
                </a:solidFill>
              </a14:hiddenFill>
            </a:ext>
          </a:extLst>
        </p:spPr>
      </p:pic>
      <p:sp>
        <p:nvSpPr>
          <p:cNvPr id="36" name="Titel 1">
            <a:extLst>
              <a:ext uri="{FF2B5EF4-FFF2-40B4-BE49-F238E27FC236}">
                <a16:creationId xmlns:a16="http://schemas.microsoft.com/office/drawing/2014/main" id="{AC7BADD3-92D6-438E-34DA-C007A85DCCE0}"/>
              </a:ext>
            </a:extLst>
          </p:cNvPr>
          <p:cNvSpPr txBox="1">
            <a:spLocks/>
          </p:cNvSpPr>
          <p:nvPr/>
        </p:nvSpPr>
        <p:spPr bwMode="gray">
          <a:xfrm>
            <a:off x="7151663" y="3862331"/>
            <a:ext cx="4267350" cy="501369"/>
          </a:xfrm>
          <a:prstGeom prst="rect">
            <a:avLst/>
          </a:prstGeom>
        </p:spPr>
        <p:txBody>
          <a:bodyPr vert="horz" lIns="180000" tIns="14400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nSpc>
                <a:spcPct val="113999"/>
              </a:lnSpc>
            </a:pPr>
            <a:r>
              <a:rPr lang="de-DE" sz="1800">
                <a:latin typeface="Poppins Medium"/>
                <a:cs typeface="Poppins Medium"/>
              </a:rPr>
              <a:t>Partner-systemen</a:t>
            </a:r>
            <a:endParaRPr lang="de-DE" sz="1800"/>
          </a:p>
        </p:txBody>
      </p:sp>
    </p:spTree>
    <p:extLst>
      <p:ext uri="{BB962C8B-B14F-4D97-AF65-F5344CB8AC3E}">
        <p14:creationId xmlns:p14="http://schemas.microsoft.com/office/powerpoint/2010/main" val="4218967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41942"/>
        </a:solidFill>
        <a:effectLst/>
      </p:bgPr>
    </p:bg>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2380F4E8-CD89-F8A8-B707-A41F0D1D1668}"/>
              </a:ext>
            </a:extLst>
          </p:cNvPr>
          <p:cNvSpPr/>
          <p:nvPr/>
        </p:nvSpPr>
        <p:spPr>
          <a:xfrm>
            <a:off x="10599" y="5973607"/>
            <a:ext cx="2972008" cy="862445"/>
          </a:xfrm>
          <a:prstGeom prst="rect">
            <a:avLst/>
          </a:prstGeom>
          <a:solidFill>
            <a:srgbClr val="24194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7" name="Picture 2" descr="Unite_Mercateo_logo landscape_white_RGB@5x">
            <a:extLst>
              <a:ext uri="{FF2B5EF4-FFF2-40B4-BE49-F238E27FC236}">
                <a16:creationId xmlns:a16="http://schemas.microsoft.com/office/drawing/2014/main" id="{CD21C562-3AEC-FD3F-2771-30B09D706B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pic>
        <p:nvPicPr>
          <p:cNvPr id="8" name="Afbeelding 2">
            <a:extLst>
              <a:ext uri="{FF2B5EF4-FFF2-40B4-BE49-F238E27FC236}">
                <a16:creationId xmlns:a16="http://schemas.microsoft.com/office/drawing/2014/main" id="{0014745F-8339-8143-0B5E-F7016AD76DC9}"/>
              </a:ext>
            </a:extLst>
          </p:cNvPr>
          <p:cNvPicPr>
            <a:picLocks noChangeAspect="1"/>
          </p:cNvPicPr>
          <p:nvPr/>
        </p:nvPicPr>
        <p:blipFill rotWithShape="1">
          <a:blip r:embed="rId4">
            <a:extLst>
              <a:ext uri="{28A0092B-C50C-407E-A947-70E740481C1C}">
                <a14:useLocalDpi xmlns:a14="http://schemas.microsoft.com/office/drawing/2010/main" val="0"/>
              </a:ext>
            </a:extLst>
          </a:blip>
          <a:srcRect t="26724" b="212"/>
          <a:stretch/>
        </p:blipFill>
        <p:spPr>
          <a:xfrm>
            <a:off x="479425" y="1701795"/>
            <a:ext cx="11233150" cy="4103692"/>
          </a:xfrm>
          <a:prstGeom prst="rect">
            <a:avLst/>
          </a:prstGeom>
        </p:spPr>
      </p:pic>
      <p:sp>
        <p:nvSpPr>
          <p:cNvPr id="10" name="Textfeld 9">
            <a:extLst>
              <a:ext uri="{FF2B5EF4-FFF2-40B4-BE49-F238E27FC236}">
                <a16:creationId xmlns:a16="http://schemas.microsoft.com/office/drawing/2014/main" id="{DF9812B7-908D-3895-D9ED-49CE10301889}"/>
              </a:ext>
            </a:extLst>
          </p:cNvPr>
          <p:cNvSpPr txBox="1"/>
          <p:nvPr/>
        </p:nvSpPr>
        <p:spPr>
          <a:xfrm>
            <a:off x="1017589" y="4929989"/>
            <a:ext cx="1677986" cy="462434"/>
          </a:xfrm>
          <a:prstGeom prst="rect">
            <a:avLst/>
          </a:prstGeom>
          <a:noFill/>
        </p:spPr>
        <p:txBody>
          <a:bodyPr wrap="square" lIns="0" tIns="0" rIns="0" bIns="0" rtlCol="0" anchor="t">
            <a:spAutoFit/>
          </a:bodyPr>
          <a:lstStyle/>
          <a:p>
            <a:pPr algn="ctr" defTabSz="798820">
              <a:lnSpc>
                <a:spcPct val="130000"/>
              </a:lnSpc>
              <a:spcBef>
                <a:spcPts val="1700"/>
              </a:spcBef>
            </a:pPr>
            <a:r>
              <a:rPr lang="de-DE" sz="1200">
                <a:solidFill>
                  <a:schemeClr val="bg2"/>
                </a:solidFill>
                <a:latin typeface="Poppins Medium"/>
                <a:cs typeface="Poppins Medium"/>
              </a:rPr>
              <a:t>Data </a:t>
            </a:r>
            <a:r>
              <a:rPr lang="de-DE" sz="1200" err="1">
                <a:solidFill>
                  <a:schemeClr val="bg2"/>
                </a:solidFill>
                <a:latin typeface="Poppins Medium"/>
                <a:cs typeface="Poppins Medium"/>
              </a:rPr>
              <a:t>opschonen</a:t>
            </a:r>
            <a:r>
              <a:rPr lang="de-DE" sz="1200">
                <a:solidFill>
                  <a:schemeClr val="bg2"/>
                </a:solidFill>
                <a:latin typeface="Poppins Medium"/>
                <a:cs typeface="Poppins Medium"/>
              </a:rPr>
              <a:t> en </a:t>
            </a:r>
            <a:r>
              <a:rPr lang="de-DE" sz="1200" err="1">
                <a:solidFill>
                  <a:schemeClr val="bg2"/>
                </a:solidFill>
                <a:latin typeface="Poppins Medium"/>
                <a:cs typeface="Poppins Medium"/>
              </a:rPr>
              <a:t>categoriseren</a:t>
            </a:r>
            <a:endParaRPr lang="nl-NL">
              <a:solidFill>
                <a:schemeClr val="bg2"/>
              </a:solidFill>
            </a:endParaRPr>
          </a:p>
        </p:txBody>
      </p:sp>
      <p:sp>
        <p:nvSpPr>
          <p:cNvPr id="13" name="Title 8">
            <a:extLst>
              <a:ext uri="{FF2B5EF4-FFF2-40B4-BE49-F238E27FC236}">
                <a16:creationId xmlns:a16="http://schemas.microsoft.com/office/drawing/2014/main" id="{63E20E1A-6ADA-8698-5116-7DBF2FAD1953}"/>
              </a:ext>
            </a:extLst>
          </p:cNvPr>
          <p:cNvSpPr>
            <a:spLocks noGrp="1"/>
          </p:cNvSpPr>
          <p:nvPr>
            <p:ph type="title"/>
          </p:nvPr>
        </p:nvSpPr>
        <p:spPr/>
        <p:txBody>
          <a:bodyPr/>
          <a:lstStyle/>
          <a:p>
            <a:pPr>
              <a:lnSpc>
                <a:spcPct val="113999"/>
              </a:lnSpc>
            </a:pPr>
            <a:r>
              <a:rPr lang="nl-NL" sz="1800">
                <a:solidFill>
                  <a:schemeClr val="bg2"/>
                </a:solidFill>
                <a:latin typeface="Poppins Medium"/>
                <a:cs typeface="Poppins Medium"/>
              </a:rPr>
              <a:t>De 7 stappen voor het opzetten van een </a:t>
            </a:r>
            <a:r>
              <a:rPr lang="nl-NL" sz="1800" err="1">
                <a:solidFill>
                  <a:schemeClr val="bg2"/>
                </a:solidFill>
                <a:latin typeface="Poppins Medium"/>
                <a:cs typeface="Poppins Medium"/>
              </a:rPr>
              <a:t>tail</a:t>
            </a:r>
            <a:r>
              <a:rPr lang="nl-NL" sz="1800">
                <a:solidFill>
                  <a:schemeClr val="bg2"/>
                </a:solidFill>
                <a:latin typeface="Poppins Medium"/>
                <a:cs typeface="Poppins Medium"/>
              </a:rPr>
              <a:t> </a:t>
            </a:r>
            <a:r>
              <a:rPr lang="nl-NL" sz="1800" err="1">
                <a:solidFill>
                  <a:schemeClr val="bg2"/>
                </a:solidFill>
                <a:latin typeface="Poppins Medium"/>
                <a:cs typeface="Poppins Medium"/>
              </a:rPr>
              <a:t>spend</a:t>
            </a:r>
            <a:r>
              <a:rPr lang="nl-NL" sz="1800">
                <a:solidFill>
                  <a:schemeClr val="bg2"/>
                </a:solidFill>
                <a:latin typeface="Poppins Medium"/>
                <a:cs typeface="Poppins Medium"/>
              </a:rPr>
              <a:t> strategie</a:t>
            </a:r>
            <a:endParaRPr lang="nl-NL">
              <a:solidFill>
                <a:schemeClr val="bg2"/>
              </a:solidFill>
            </a:endParaRPr>
          </a:p>
        </p:txBody>
      </p:sp>
      <p:sp>
        <p:nvSpPr>
          <p:cNvPr id="2" name="Textfeld 1">
            <a:extLst>
              <a:ext uri="{FF2B5EF4-FFF2-40B4-BE49-F238E27FC236}">
                <a16:creationId xmlns:a16="http://schemas.microsoft.com/office/drawing/2014/main" id="{3B2BC02F-8E4C-00DB-3CC8-381BA1AFDE03}"/>
              </a:ext>
            </a:extLst>
          </p:cNvPr>
          <p:cNvSpPr txBox="1"/>
          <p:nvPr/>
        </p:nvSpPr>
        <p:spPr>
          <a:xfrm>
            <a:off x="3813040" y="4929989"/>
            <a:ext cx="1677986" cy="222369"/>
          </a:xfrm>
          <a:prstGeom prst="rect">
            <a:avLst/>
          </a:prstGeom>
          <a:noFill/>
        </p:spPr>
        <p:txBody>
          <a:bodyPr wrap="square" lIns="0" tIns="0" rIns="0" bIns="0" rtlCol="0" anchor="t">
            <a:spAutoFit/>
          </a:bodyPr>
          <a:lstStyle/>
          <a:p>
            <a:pPr algn="ctr" defTabSz="798820">
              <a:lnSpc>
                <a:spcPct val="130000"/>
              </a:lnSpc>
              <a:spcBef>
                <a:spcPts val="1700"/>
              </a:spcBef>
            </a:pPr>
            <a:r>
              <a:rPr lang="de-DE" sz="1200" err="1">
                <a:solidFill>
                  <a:schemeClr val="bg2"/>
                </a:solidFill>
                <a:latin typeface="Poppins Medium"/>
                <a:cs typeface="Poppins Medium"/>
              </a:rPr>
              <a:t>Risicobeheeranalyse</a:t>
            </a:r>
            <a:endParaRPr lang="nl-NL" err="1"/>
          </a:p>
        </p:txBody>
      </p:sp>
      <p:sp>
        <p:nvSpPr>
          <p:cNvPr id="3" name="Textfeld 2">
            <a:extLst>
              <a:ext uri="{FF2B5EF4-FFF2-40B4-BE49-F238E27FC236}">
                <a16:creationId xmlns:a16="http://schemas.microsoft.com/office/drawing/2014/main" id="{4C538FFB-7043-AAFE-A59F-CCAC4257F751}"/>
              </a:ext>
            </a:extLst>
          </p:cNvPr>
          <p:cNvSpPr txBox="1"/>
          <p:nvPr/>
        </p:nvSpPr>
        <p:spPr>
          <a:xfrm>
            <a:off x="6673806" y="4929989"/>
            <a:ext cx="1677986" cy="463204"/>
          </a:xfrm>
          <a:prstGeom prst="rect">
            <a:avLst/>
          </a:prstGeom>
          <a:noFill/>
        </p:spPr>
        <p:txBody>
          <a:bodyPr wrap="square" lIns="0" tIns="0" rIns="0" bIns="0" rtlCol="0" anchor="t">
            <a:spAutoFit/>
          </a:bodyPr>
          <a:lstStyle/>
          <a:p>
            <a:pPr algn="ctr" defTabSz="798820">
              <a:lnSpc>
                <a:spcPct val="130000"/>
              </a:lnSpc>
              <a:spcBef>
                <a:spcPts val="1700"/>
              </a:spcBef>
            </a:pPr>
            <a:r>
              <a:rPr lang="de-DE" sz="1200" err="1">
                <a:solidFill>
                  <a:schemeClr val="bg2"/>
                </a:solidFill>
                <a:latin typeface="Poppins Medium"/>
                <a:cs typeface="Poppins Medium"/>
              </a:rPr>
              <a:t>Controle</a:t>
            </a:r>
            <a:r>
              <a:rPr lang="de-DE" sz="1200">
                <a:solidFill>
                  <a:schemeClr val="bg2"/>
                </a:solidFill>
                <a:latin typeface="Poppins Medium"/>
                <a:cs typeface="Poppins Medium"/>
              </a:rPr>
              <a:t> van digitale </a:t>
            </a:r>
            <a:r>
              <a:rPr lang="de-DE" sz="1200" err="1">
                <a:solidFill>
                  <a:schemeClr val="bg2"/>
                </a:solidFill>
                <a:latin typeface="Poppins Medium"/>
                <a:cs typeface="Poppins Medium"/>
              </a:rPr>
              <a:t>data</a:t>
            </a:r>
            <a:r>
              <a:rPr lang="de-DE" sz="1200">
                <a:solidFill>
                  <a:schemeClr val="bg2"/>
                </a:solidFill>
                <a:latin typeface="Poppins Medium"/>
                <a:cs typeface="Poppins Medium"/>
              </a:rPr>
              <a:t> en </a:t>
            </a:r>
            <a:r>
              <a:rPr lang="de-DE" sz="1200" err="1">
                <a:solidFill>
                  <a:schemeClr val="bg2"/>
                </a:solidFill>
                <a:latin typeface="Poppins Medium"/>
                <a:cs typeface="Poppins Medium"/>
              </a:rPr>
              <a:t>processen</a:t>
            </a:r>
            <a:endParaRPr lang="nl-NL">
              <a:solidFill>
                <a:schemeClr val="bg2"/>
              </a:solidFill>
            </a:endParaRPr>
          </a:p>
        </p:txBody>
      </p:sp>
      <p:sp>
        <p:nvSpPr>
          <p:cNvPr id="4" name="Textfeld 3">
            <a:extLst>
              <a:ext uri="{FF2B5EF4-FFF2-40B4-BE49-F238E27FC236}">
                <a16:creationId xmlns:a16="http://schemas.microsoft.com/office/drawing/2014/main" id="{E2412371-6BA6-BE08-02A3-B2CFE72C3186}"/>
              </a:ext>
            </a:extLst>
          </p:cNvPr>
          <p:cNvSpPr txBox="1"/>
          <p:nvPr/>
        </p:nvSpPr>
        <p:spPr>
          <a:xfrm>
            <a:off x="9508446" y="4929989"/>
            <a:ext cx="1677986" cy="462434"/>
          </a:xfrm>
          <a:prstGeom prst="rect">
            <a:avLst/>
          </a:prstGeom>
          <a:noFill/>
        </p:spPr>
        <p:txBody>
          <a:bodyPr wrap="square" lIns="0" tIns="0" rIns="0" bIns="0" rtlCol="0" anchor="t">
            <a:spAutoFit/>
          </a:bodyPr>
          <a:lstStyle/>
          <a:p>
            <a:pPr algn="ctr" defTabSz="798820">
              <a:lnSpc>
                <a:spcPct val="130000"/>
              </a:lnSpc>
              <a:spcBef>
                <a:spcPts val="1700"/>
              </a:spcBef>
            </a:pPr>
            <a:r>
              <a:rPr lang="de-DE" sz="1200">
                <a:solidFill>
                  <a:schemeClr val="bg2"/>
                </a:solidFill>
                <a:latin typeface="Poppins Medium"/>
                <a:cs typeface="Poppins Medium"/>
              </a:rPr>
              <a:t>Monitoring en optimalisatie</a:t>
            </a:r>
            <a:endParaRPr lang="nl-NL">
              <a:solidFill>
                <a:schemeClr val="bg2"/>
              </a:solidFill>
            </a:endParaRPr>
          </a:p>
        </p:txBody>
      </p:sp>
      <p:sp>
        <p:nvSpPr>
          <p:cNvPr id="5" name="Textfeld 4">
            <a:extLst>
              <a:ext uri="{FF2B5EF4-FFF2-40B4-BE49-F238E27FC236}">
                <a16:creationId xmlns:a16="http://schemas.microsoft.com/office/drawing/2014/main" id="{285D31E2-0348-A466-807D-8D1E8279972A}"/>
              </a:ext>
            </a:extLst>
          </p:cNvPr>
          <p:cNvSpPr txBox="1"/>
          <p:nvPr/>
        </p:nvSpPr>
        <p:spPr>
          <a:xfrm>
            <a:off x="2388598" y="1899406"/>
            <a:ext cx="1677986" cy="226216"/>
          </a:xfrm>
          <a:prstGeom prst="rect">
            <a:avLst/>
          </a:prstGeom>
          <a:noFill/>
        </p:spPr>
        <p:txBody>
          <a:bodyPr wrap="square" lIns="0" tIns="0" rIns="0" bIns="0" rtlCol="0" anchor="b">
            <a:spAutoFit/>
          </a:bodyPr>
          <a:lstStyle/>
          <a:p>
            <a:pPr algn="ctr" defTabSz="798820">
              <a:lnSpc>
                <a:spcPct val="130000"/>
              </a:lnSpc>
              <a:spcBef>
                <a:spcPts val="1700"/>
              </a:spcBef>
            </a:pPr>
            <a:r>
              <a:rPr lang="de-DE" sz="1200" err="1">
                <a:solidFill>
                  <a:schemeClr val="bg2"/>
                </a:solidFill>
                <a:latin typeface="Poppins Medium"/>
                <a:cs typeface="Poppins Medium"/>
              </a:rPr>
              <a:t>Uitgavenanalyse</a:t>
            </a:r>
            <a:endParaRPr lang="nl-NL">
              <a:solidFill>
                <a:schemeClr val="bg2"/>
              </a:solidFill>
            </a:endParaRPr>
          </a:p>
        </p:txBody>
      </p:sp>
      <p:sp>
        <p:nvSpPr>
          <p:cNvPr id="20" name="Textfeld 19">
            <a:extLst>
              <a:ext uri="{FF2B5EF4-FFF2-40B4-BE49-F238E27FC236}">
                <a16:creationId xmlns:a16="http://schemas.microsoft.com/office/drawing/2014/main" id="{27B39572-A600-35B6-6100-5F0F6068461B}"/>
              </a:ext>
            </a:extLst>
          </p:cNvPr>
          <p:cNvSpPr txBox="1"/>
          <p:nvPr/>
        </p:nvSpPr>
        <p:spPr>
          <a:xfrm>
            <a:off x="5184049" y="1899406"/>
            <a:ext cx="1677986" cy="226216"/>
          </a:xfrm>
          <a:prstGeom prst="rect">
            <a:avLst/>
          </a:prstGeom>
          <a:noFill/>
        </p:spPr>
        <p:txBody>
          <a:bodyPr wrap="square" lIns="0" tIns="0" rIns="0" bIns="0" rtlCol="0" anchor="b">
            <a:spAutoFit/>
          </a:bodyPr>
          <a:lstStyle/>
          <a:p>
            <a:pPr algn="ctr" defTabSz="798820">
              <a:lnSpc>
                <a:spcPct val="130000"/>
              </a:lnSpc>
              <a:spcBef>
                <a:spcPts val="1700"/>
              </a:spcBef>
            </a:pPr>
            <a:r>
              <a:rPr lang="de-DE" sz="1200" err="1">
                <a:solidFill>
                  <a:schemeClr val="bg2"/>
                </a:solidFill>
                <a:latin typeface="Poppins Medium"/>
                <a:cs typeface="Poppins Medium"/>
              </a:rPr>
              <a:t>KPI's</a:t>
            </a:r>
            <a:r>
              <a:rPr lang="de-DE" sz="1200">
                <a:solidFill>
                  <a:schemeClr val="bg2"/>
                </a:solidFill>
                <a:latin typeface="Poppins Medium"/>
                <a:cs typeface="Poppins Medium"/>
              </a:rPr>
              <a:t> bepalen</a:t>
            </a:r>
            <a:endParaRPr lang="nl-NL">
              <a:solidFill>
                <a:schemeClr val="bg2"/>
              </a:solidFill>
            </a:endParaRPr>
          </a:p>
        </p:txBody>
      </p:sp>
      <p:sp>
        <p:nvSpPr>
          <p:cNvPr id="21" name="Textfeld 20">
            <a:extLst>
              <a:ext uri="{FF2B5EF4-FFF2-40B4-BE49-F238E27FC236}">
                <a16:creationId xmlns:a16="http://schemas.microsoft.com/office/drawing/2014/main" id="{0B8C3D90-EA72-388A-BED2-E4CD9C948DFE}"/>
              </a:ext>
            </a:extLst>
          </p:cNvPr>
          <p:cNvSpPr txBox="1"/>
          <p:nvPr/>
        </p:nvSpPr>
        <p:spPr>
          <a:xfrm>
            <a:off x="8044815" y="1663188"/>
            <a:ext cx="1677986" cy="462434"/>
          </a:xfrm>
          <a:prstGeom prst="rect">
            <a:avLst/>
          </a:prstGeom>
          <a:noFill/>
        </p:spPr>
        <p:txBody>
          <a:bodyPr wrap="square" lIns="0" tIns="0" rIns="0" bIns="0" rtlCol="0" anchor="b">
            <a:spAutoFit/>
          </a:bodyPr>
          <a:lstStyle/>
          <a:p>
            <a:pPr algn="ctr" defTabSz="798820">
              <a:lnSpc>
                <a:spcPct val="130000"/>
              </a:lnSpc>
              <a:spcBef>
                <a:spcPts val="1700"/>
              </a:spcBef>
            </a:pPr>
            <a:r>
              <a:rPr lang="de-DE" sz="1200" err="1">
                <a:solidFill>
                  <a:schemeClr val="bg2"/>
                </a:solidFill>
                <a:latin typeface="Poppins Medium"/>
                <a:cs typeface="Poppins Medium"/>
              </a:rPr>
              <a:t>Samenwerking</a:t>
            </a:r>
            <a:r>
              <a:rPr lang="de-DE" sz="1200">
                <a:solidFill>
                  <a:schemeClr val="bg2"/>
                </a:solidFill>
                <a:latin typeface="Poppins Medium"/>
                <a:cs typeface="Poppins Medium"/>
              </a:rPr>
              <a:t> </a:t>
            </a:r>
            <a:r>
              <a:rPr lang="de-DE" sz="1200" err="1">
                <a:solidFill>
                  <a:schemeClr val="bg2"/>
                </a:solidFill>
                <a:latin typeface="Poppins Medium"/>
                <a:cs typeface="Poppins Medium"/>
              </a:rPr>
              <a:t>met</a:t>
            </a:r>
            <a:r>
              <a:rPr lang="de-DE" sz="1200">
                <a:solidFill>
                  <a:schemeClr val="bg2"/>
                </a:solidFill>
                <a:latin typeface="Poppins Medium"/>
                <a:cs typeface="Poppins Medium"/>
              </a:rPr>
              <a:t> </a:t>
            </a:r>
            <a:r>
              <a:rPr lang="de-DE" sz="1200" err="1">
                <a:solidFill>
                  <a:schemeClr val="bg2"/>
                </a:solidFill>
                <a:latin typeface="Poppins Medium"/>
                <a:cs typeface="Poppins Medium"/>
              </a:rPr>
              <a:t>stakeholders</a:t>
            </a:r>
            <a:endParaRPr lang="nl-NL" err="1">
              <a:solidFill>
                <a:schemeClr val="bg2"/>
              </a:solidFill>
              <a:ea typeface="Noto Sans"/>
              <a:cs typeface="Noto Sans"/>
            </a:endParaRPr>
          </a:p>
        </p:txBody>
      </p:sp>
    </p:spTree>
    <p:extLst>
      <p:ext uri="{BB962C8B-B14F-4D97-AF65-F5344CB8AC3E}">
        <p14:creationId xmlns:p14="http://schemas.microsoft.com/office/powerpoint/2010/main" val="869209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1" name="Abgerundetes Rechteck 10">
            <a:extLst>
              <a:ext uri="{FF2B5EF4-FFF2-40B4-BE49-F238E27FC236}">
                <a16:creationId xmlns:a16="http://schemas.microsoft.com/office/drawing/2014/main" id="{B420566E-69F9-FA19-D2F4-0ECE68053DD6}"/>
              </a:ext>
            </a:extLst>
          </p:cNvPr>
          <p:cNvSpPr/>
          <p:nvPr/>
        </p:nvSpPr>
        <p:spPr>
          <a:xfrm rot="5400000">
            <a:off x="6382507" y="218725"/>
            <a:ext cx="4150327" cy="7023198"/>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grpSp>
        <p:nvGrpSpPr>
          <p:cNvPr id="50" name="Gruppieren 49">
            <a:extLst>
              <a:ext uri="{FF2B5EF4-FFF2-40B4-BE49-F238E27FC236}">
                <a16:creationId xmlns:a16="http://schemas.microsoft.com/office/drawing/2014/main" id="{5BE1D52D-8941-E847-51E8-A0F5751002DC}"/>
              </a:ext>
            </a:extLst>
          </p:cNvPr>
          <p:cNvGrpSpPr/>
          <p:nvPr/>
        </p:nvGrpSpPr>
        <p:grpSpPr>
          <a:xfrm>
            <a:off x="474496" y="1656664"/>
            <a:ext cx="8606929" cy="4148825"/>
            <a:chOff x="474496" y="1656664"/>
            <a:chExt cx="8606929" cy="4148825"/>
          </a:xfrm>
        </p:grpSpPr>
        <p:sp>
          <p:nvSpPr>
            <p:cNvPr id="49" name="Abgerundetes Rechteck 48">
              <a:extLst>
                <a:ext uri="{FF2B5EF4-FFF2-40B4-BE49-F238E27FC236}">
                  <a16:creationId xmlns:a16="http://schemas.microsoft.com/office/drawing/2014/main" id="{6DC629B1-2F13-FC90-2CCE-A85F8905230F}"/>
                </a:ext>
              </a:extLst>
            </p:cNvPr>
            <p:cNvSpPr/>
            <p:nvPr/>
          </p:nvSpPr>
          <p:spPr>
            <a:xfrm>
              <a:off x="474496" y="1665289"/>
              <a:ext cx="5538065" cy="4140200"/>
            </a:xfrm>
            <a:prstGeom prst="roundRect">
              <a:avLst>
                <a:gd name="adj" fmla="val 3862"/>
              </a:avLst>
            </a:prstGeom>
            <a:solidFill>
              <a:srgbClr val="E2E0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6307" tIns="246307" rIns="246307" bIns="246307" rtlCol="0" anchor="t" anchorCtr="0">
              <a:noAutofit/>
            </a:bodyPr>
            <a:lstStyle/>
            <a:p>
              <a:pPr rtl="0"/>
              <a:endParaRPr lang="de-DE" sz="1254"/>
            </a:p>
          </p:txBody>
        </p:sp>
        <p:sp>
          <p:nvSpPr>
            <p:cNvPr id="48" name="Abgerundetes Rechteck 47">
              <a:extLst>
                <a:ext uri="{FF2B5EF4-FFF2-40B4-BE49-F238E27FC236}">
                  <a16:creationId xmlns:a16="http://schemas.microsoft.com/office/drawing/2014/main" id="{CA4CD3A1-E0BE-492F-2CAE-40E7D23F7410}"/>
                </a:ext>
              </a:extLst>
            </p:cNvPr>
            <p:cNvSpPr/>
            <p:nvPr/>
          </p:nvSpPr>
          <p:spPr>
            <a:xfrm rot="5400000">
              <a:off x="3341875" y="65937"/>
              <a:ext cx="4148824" cy="7330277"/>
            </a:xfrm>
            <a:prstGeom prst="roundRect">
              <a:avLst>
                <a:gd name="adj" fmla="val 50000"/>
              </a:avLst>
            </a:prstGeom>
            <a:solidFill>
              <a:srgbClr val="E2E0E5"/>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a:p>
          </p:txBody>
        </p:sp>
      </p:grpSp>
      <p:sp>
        <p:nvSpPr>
          <p:cNvPr id="28" name="Titel 27">
            <a:extLst>
              <a:ext uri="{FF2B5EF4-FFF2-40B4-BE49-F238E27FC236}">
                <a16:creationId xmlns:a16="http://schemas.microsoft.com/office/drawing/2014/main" id="{52299B99-4FE3-F060-F2C7-0C1CFA7587E5}"/>
              </a:ext>
            </a:extLst>
          </p:cNvPr>
          <p:cNvSpPr>
            <a:spLocks noGrp="1"/>
          </p:cNvSpPr>
          <p:nvPr>
            <p:ph type="title"/>
          </p:nvPr>
        </p:nvSpPr>
        <p:spPr/>
        <p:txBody>
          <a:bodyPr anchor="t">
            <a:normAutofit/>
          </a:bodyPr>
          <a:lstStyle/>
          <a:p>
            <a:r>
              <a:rPr lang="nl-NL" sz="1820">
                <a:latin typeface="Poppins Medium"/>
                <a:cs typeface="Poppins Medium"/>
              </a:rPr>
              <a:t>Take-aways</a:t>
            </a:r>
          </a:p>
        </p:txBody>
      </p:sp>
      <p:sp>
        <p:nvSpPr>
          <p:cNvPr id="6" name="Titel 1">
            <a:extLst>
              <a:ext uri="{FF2B5EF4-FFF2-40B4-BE49-F238E27FC236}">
                <a16:creationId xmlns:a16="http://schemas.microsoft.com/office/drawing/2014/main" id="{156C654C-7CB2-C9A6-AAB2-6B2F4D612448}"/>
              </a:ext>
            </a:extLst>
          </p:cNvPr>
          <p:cNvSpPr txBox="1">
            <a:spLocks/>
          </p:cNvSpPr>
          <p:nvPr/>
        </p:nvSpPr>
        <p:spPr bwMode="gray">
          <a:xfrm>
            <a:off x="508393" y="1679373"/>
            <a:ext cx="4267350" cy="501369"/>
          </a:xfrm>
          <a:prstGeom prst="rect">
            <a:avLst/>
          </a:prstGeom>
        </p:spPr>
        <p:txBody>
          <a:bodyPr vert="horz" lIns="180000" tIns="14400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nSpc>
                <a:spcPct val="113999"/>
              </a:lnSpc>
            </a:pPr>
            <a:endParaRPr lang="de-DE" sz="1800">
              <a:latin typeface="Poppins Medium"/>
              <a:cs typeface="Poppins Medium"/>
            </a:endParaRPr>
          </a:p>
        </p:txBody>
      </p:sp>
      <p:pic>
        <p:nvPicPr>
          <p:cNvPr id="10" name="Afbeelding 1" descr="Afbeelding met Graphics, clipart, cirkel, ontwerp&#10;&#10;Automatisch gegenereerde beschrijving">
            <a:extLst>
              <a:ext uri="{FF2B5EF4-FFF2-40B4-BE49-F238E27FC236}">
                <a16:creationId xmlns:a16="http://schemas.microsoft.com/office/drawing/2014/main" id="{4CECF583-2409-B1B7-F011-659D2CF79955}"/>
              </a:ext>
            </a:extLst>
          </p:cNvPr>
          <p:cNvPicPr>
            <a:picLocks noChangeAspect="1"/>
          </p:cNvPicPr>
          <p:nvPr/>
        </p:nvPicPr>
        <p:blipFill>
          <a:blip r:embed="rId3"/>
          <a:stretch>
            <a:fillRect/>
          </a:stretch>
        </p:blipFill>
        <p:spPr>
          <a:xfrm>
            <a:off x="9461745" y="2652414"/>
            <a:ext cx="2155820" cy="2155820"/>
          </a:xfrm>
          <a:prstGeom prst="rect">
            <a:avLst/>
          </a:prstGeom>
          <a:noFill/>
        </p:spPr>
      </p:pic>
      <p:sp>
        <p:nvSpPr>
          <p:cNvPr id="23" name="Titel 1">
            <a:extLst>
              <a:ext uri="{FF2B5EF4-FFF2-40B4-BE49-F238E27FC236}">
                <a16:creationId xmlns:a16="http://schemas.microsoft.com/office/drawing/2014/main" id="{10573713-2A02-24F9-83CE-01F935DF52D6}"/>
              </a:ext>
            </a:extLst>
          </p:cNvPr>
          <p:cNvSpPr txBox="1">
            <a:spLocks/>
          </p:cNvSpPr>
          <p:nvPr/>
        </p:nvSpPr>
        <p:spPr bwMode="gray">
          <a:xfrm>
            <a:off x="1732347" y="4590008"/>
            <a:ext cx="1800000" cy="597245"/>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t>Starten</a:t>
            </a:r>
          </a:p>
        </p:txBody>
      </p:sp>
      <p:sp>
        <p:nvSpPr>
          <p:cNvPr id="24" name="Titel 1">
            <a:extLst>
              <a:ext uri="{FF2B5EF4-FFF2-40B4-BE49-F238E27FC236}">
                <a16:creationId xmlns:a16="http://schemas.microsoft.com/office/drawing/2014/main" id="{7ECC472D-52CD-8612-4FF8-F8EB666D3FE0}"/>
              </a:ext>
            </a:extLst>
          </p:cNvPr>
          <p:cNvSpPr txBox="1">
            <a:spLocks/>
          </p:cNvSpPr>
          <p:nvPr/>
        </p:nvSpPr>
        <p:spPr bwMode="gray">
          <a:xfrm>
            <a:off x="3873508" y="4590008"/>
            <a:ext cx="1800000" cy="597245"/>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t>Adoptie</a:t>
            </a:r>
          </a:p>
        </p:txBody>
      </p:sp>
      <p:sp>
        <p:nvSpPr>
          <p:cNvPr id="25" name="Titel 1">
            <a:extLst>
              <a:ext uri="{FF2B5EF4-FFF2-40B4-BE49-F238E27FC236}">
                <a16:creationId xmlns:a16="http://schemas.microsoft.com/office/drawing/2014/main" id="{4ECCA90B-4F5E-D6B9-405F-8C292E97151B}"/>
              </a:ext>
            </a:extLst>
          </p:cNvPr>
          <p:cNvSpPr txBox="1">
            <a:spLocks/>
          </p:cNvSpPr>
          <p:nvPr/>
        </p:nvSpPr>
        <p:spPr bwMode="gray">
          <a:xfrm>
            <a:off x="5995616" y="4590008"/>
            <a:ext cx="1800000" cy="597245"/>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algn="ctr">
              <a:buSzPct val="200000"/>
            </a:pPr>
            <a:r>
              <a:rPr lang="nl-NL" sz="1200"/>
              <a:t>Monitoren</a:t>
            </a:r>
          </a:p>
        </p:txBody>
      </p:sp>
      <p:pic>
        <p:nvPicPr>
          <p:cNvPr id="4" name="Afbeelding 3" descr="Afbeelding met symbool&#10;&#10;Automatisch gegenereerde beschrijving">
            <a:extLst>
              <a:ext uri="{FF2B5EF4-FFF2-40B4-BE49-F238E27FC236}">
                <a16:creationId xmlns:a16="http://schemas.microsoft.com/office/drawing/2014/main" id="{2F0428AD-8B8D-C2AC-2754-5DE0482C996A}"/>
              </a:ext>
            </a:extLst>
          </p:cNvPr>
          <p:cNvPicPr>
            <a:picLocks noChangeAspect="1"/>
          </p:cNvPicPr>
          <p:nvPr/>
        </p:nvPicPr>
        <p:blipFill>
          <a:blip r:embed="rId4"/>
          <a:stretch>
            <a:fillRect/>
          </a:stretch>
        </p:blipFill>
        <p:spPr>
          <a:xfrm>
            <a:off x="1751148" y="2696831"/>
            <a:ext cx="1762399" cy="1762399"/>
          </a:xfrm>
          <a:prstGeom prst="rect">
            <a:avLst/>
          </a:prstGeom>
        </p:spPr>
      </p:pic>
      <p:pic>
        <p:nvPicPr>
          <p:cNvPr id="8" name="Afbeelding 7" descr="Afbeelding met symbool, creativiteit&#10;&#10;Automatisch gegenereerde beschrijving">
            <a:extLst>
              <a:ext uri="{FF2B5EF4-FFF2-40B4-BE49-F238E27FC236}">
                <a16:creationId xmlns:a16="http://schemas.microsoft.com/office/drawing/2014/main" id="{C4433911-60EC-14CD-3F4E-471551436E0B}"/>
              </a:ext>
            </a:extLst>
          </p:cNvPr>
          <p:cNvPicPr>
            <a:picLocks noChangeAspect="1"/>
          </p:cNvPicPr>
          <p:nvPr/>
        </p:nvPicPr>
        <p:blipFill>
          <a:blip r:embed="rId5"/>
          <a:stretch>
            <a:fillRect/>
          </a:stretch>
        </p:blipFill>
        <p:spPr>
          <a:xfrm>
            <a:off x="3893866" y="2711687"/>
            <a:ext cx="1759284" cy="1759284"/>
          </a:xfrm>
          <a:prstGeom prst="rect">
            <a:avLst/>
          </a:prstGeom>
        </p:spPr>
      </p:pic>
      <p:pic>
        <p:nvPicPr>
          <p:cNvPr id="9" name="Afbeelding 8" descr="Afbeelding met symbool, Lettertype, tekst, logo&#10;&#10;Automatisch gegenereerde beschrijving">
            <a:extLst>
              <a:ext uri="{FF2B5EF4-FFF2-40B4-BE49-F238E27FC236}">
                <a16:creationId xmlns:a16="http://schemas.microsoft.com/office/drawing/2014/main" id="{927E92BF-96C2-6AD3-483C-445640BB8653}"/>
              </a:ext>
            </a:extLst>
          </p:cNvPr>
          <p:cNvPicPr>
            <a:picLocks noChangeAspect="1"/>
          </p:cNvPicPr>
          <p:nvPr/>
        </p:nvPicPr>
        <p:blipFill>
          <a:blip r:embed="rId6"/>
          <a:stretch>
            <a:fillRect/>
          </a:stretch>
        </p:blipFill>
        <p:spPr>
          <a:xfrm>
            <a:off x="6033469" y="2711686"/>
            <a:ext cx="1759284" cy="1759284"/>
          </a:xfrm>
          <a:prstGeom prst="rect">
            <a:avLst/>
          </a:prstGeom>
        </p:spPr>
      </p:pic>
    </p:spTree>
    <p:extLst>
      <p:ext uri="{BB962C8B-B14F-4D97-AF65-F5344CB8AC3E}">
        <p14:creationId xmlns:p14="http://schemas.microsoft.com/office/powerpoint/2010/main" val="3990450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stretch>
            <a:fillRect t="-17000" b="-17000"/>
          </a:stretch>
        </a:blipFill>
        <a:effectLst/>
      </p:bgPr>
    </p:bg>
    <p:spTree>
      <p:nvGrpSpPr>
        <p:cNvPr id="1" name=""/>
        <p:cNvGrpSpPr/>
        <p:nvPr/>
      </p:nvGrpSpPr>
      <p:grpSpPr>
        <a:xfrm>
          <a:off x="0" y="0"/>
          <a:ext cx="0" cy="0"/>
          <a:chOff x="0" y="0"/>
          <a:chExt cx="0" cy="0"/>
        </a:xfrm>
      </p:grpSpPr>
      <p:pic>
        <p:nvPicPr>
          <p:cNvPr id="9" name="Picture Placeholder 8" descr="A dog lying on its back&#10;&#10;Description automatically generated">
            <a:extLst>
              <a:ext uri="{FF2B5EF4-FFF2-40B4-BE49-F238E27FC236}">
                <a16:creationId xmlns:a16="http://schemas.microsoft.com/office/drawing/2014/main" id="{45B74205-3C4D-14BC-24C6-2D62B5EB677C}"/>
              </a:ext>
            </a:extLst>
          </p:cNvPr>
          <p:cNvPicPr>
            <a:picLocks noGrp="1" noChangeAspect="1"/>
          </p:cNvPicPr>
          <p:nvPr>
            <p:ph type="pic" sz="quarter" idx="15"/>
          </p:nvPr>
        </p:nvPicPr>
        <p:blipFill rotWithShape="1">
          <a:blip r:embed="rId4">
            <a:extLst>
              <a:ext uri="{28A0092B-C50C-407E-A947-70E740481C1C}">
                <a14:useLocalDpi xmlns:a14="http://schemas.microsoft.com/office/drawing/2010/main" val="0"/>
              </a:ext>
            </a:extLst>
          </a:blip>
          <a:srcRect l="10301" r="13171"/>
          <a:stretch/>
        </p:blipFill>
        <p:spPr>
          <a:xfrm>
            <a:off x="5261807" y="0"/>
            <a:ext cx="7876373" cy="6858000"/>
          </a:xfrm>
        </p:spPr>
      </p:pic>
      <p:sp>
        <p:nvSpPr>
          <p:cNvPr id="4" name="Tijdelijke aanduiding voor tekst 3">
            <a:extLst>
              <a:ext uri="{FF2B5EF4-FFF2-40B4-BE49-F238E27FC236}">
                <a16:creationId xmlns:a16="http://schemas.microsoft.com/office/drawing/2014/main" id="{ED329A39-1E19-1888-DA5B-ACB28697EB2E}"/>
              </a:ext>
            </a:extLst>
          </p:cNvPr>
          <p:cNvSpPr>
            <a:spLocks noGrp="1"/>
          </p:cNvSpPr>
          <p:nvPr>
            <p:ph type="body" sz="quarter" idx="14"/>
          </p:nvPr>
        </p:nvSpPr>
        <p:spPr>
          <a:xfrm>
            <a:off x="499627" y="2802248"/>
            <a:ext cx="4662246" cy="2036690"/>
          </a:xfrm>
        </p:spPr>
        <p:txBody>
          <a:bodyPr vert="horz" lIns="0" tIns="36000" rIns="0" bIns="0" rtlCol="0" anchor="t">
            <a:noAutofit/>
          </a:bodyPr>
          <a:lstStyle/>
          <a:p>
            <a:r>
              <a:rPr lang="nl-NL" sz="3200">
                <a:latin typeface="Poppins Medium"/>
                <a:cs typeface="Poppins Medium"/>
              </a:rPr>
              <a:t>Stop </a:t>
            </a:r>
            <a:r>
              <a:rPr lang="nl-NL" sz="3200" err="1">
                <a:latin typeface="Poppins Medium"/>
                <a:cs typeface="Poppins Medium"/>
              </a:rPr>
              <a:t>chasing</a:t>
            </a:r>
            <a:r>
              <a:rPr lang="nl-NL" sz="3200">
                <a:latin typeface="Poppins Medium"/>
                <a:cs typeface="Poppins Medium"/>
              </a:rPr>
              <a:t> </a:t>
            </a:r>
            <a:r>
              <a:rPr lang="nl-NL" sz="3200" err="1">
                <a:latin typeface="Poppins Medium"/>
                <a:cs typeface="Poppins Medium"/>
              </a:rPr>
              <a:t>your</a:t>
            </a:r>
            <a:r>
              <a:rPr lang="nl-NL" sz="3200">
                <a:latin typeface="Poppins Medium"/>
                <a:cs typeface="Poppins Medium"/>
              </a:rPr>
              <a:t> </a:t>
            </a:r>
            <a:r>
              <a:rPr lang="nl-NL" sz="3200" err="1">
                <a:latin typeface="Poppins Medium"/>
                <a:cs typeface="Poppins Medium"/>
              </a:rPr>
              <a:t>tail</a:t>
            </a:r>
            <a:r>
              <a:rPr lang="nl-NL" sz="3200">
                <a:latin typeface="Poppins Medium"/>
                <a:cs typeface="Poppins Medium"/>
              </a:rPr>
              <a:t>!</a:t>
            </a:r>
            <a:br>
              <a:rPr lang="nl-NL" sz="3200"/>
            </a:br>
            <a:br>
              <a:rPr lang="nl-NL" sz="2800">
                <a:latin typeface="Poppins Medium"/>
                <a:cs typeface="Poppins Medium"/>
              </a:rPr>
            </a:br>
            <a:r>
              <a:rPr lang="nl-NL" sz="2800">
                <a:latin typeface="Poppins Medium"/>
                <a:cs typeface="Poppins Medium"/>
              </a:rPr>
              <a:t>Focus on </a:t>
            </a:r>
            <a:r>
              <a:rPr lang="nl-NL" sz="2800" err="1">
                <a:latin typeface="Poppins Medium"/>
                <a:cs typeface="Poppins Medium"/>
              </a:rPr>
              <a:t>what</a:t>
            </a:r>
            <a:r>
              <a:rPr lang="nl-NL" sz="2800">
                <a:latin typeface="Poppins Medium"/>
                <a:cs typeface="Poppins Medium"/>
              </a:rPr>
              <a:t> </a:t>
            </a:r>
            <a:r>
              <a:rPr lang="nl-NL" sz="2800" err="1">
                <a:latin typeface="Poppins Medium"/>
                <a:cs typeface="Poppins Medium"/>
              </a:rPr>
              <a:t>matters</a:t>
            </a:r>
            <a:r>
              <a:rPr lang="nl-NL" sz="2800">
                <a:latin typeface="Poppins Medium"/>
                <a:cs typeface="Poppins Medium"/>
              </a:rPr>
              <a:t>!</a:t>
            </a:r>
          </a:p>
        </p:txBody>
      </p:sp>
      <p:sp>
        <p:nvSpPr>
          <p:cNvPr id="16" name="Title 15">
            <a:extLst>
              <a:ext uri="{FF2B5EF4-FFF2-40B4-BE49-F238E27FC236}">
                <a16:creationId xmlns:a16="http://schemas.microsoft.com/office/drawing/2014/main" id="{22962FB2-FF74-7244-E192-74CD23CFA963}"/>
              </a:ext>
            </a:extLst>
          </p:cNvPr>
          <p:cNvSpPr>
            <a:spLocks noGrp="1"/>
          </p:cNvSpPr>
          <p:nvPr>
            <p:ph type="title"/>
          </p:nvPr>
        </p:nvSpPr>
        <p:spPr>
          <a:xfrm>
            <a:off x="492388" y="496088"/>
            <a:ext cx="5272308" cy="628128"/>
          </a:xfrm>
        </p:spPr>
        <p:txBody>
          <a:bodyPr/>
          <a:lstStyle/>
          <a:p>
            <a:r>
              <a:rPr lang="en-US" sz="2000" err="1">
                <a:latin typeface="Poppins Medium"/>
                <a:cs typeface="Poppins Medium"/>
              </a:rPr>
              <a:t>Nieuwsgierig</a:t>
            </a:r>
            <a:r>
              <a:rPr lang="en-US" sz="2000">
                <a:latin typeface="Poppins Medium"/>
                <a:cs typeface="Poppins Medium"/>
              </a:rPr>
              <a:t> </a:t>
            </a:r>
            <a:r>
              <a:rPr lang="en-US" sz="2000" err="1">
                <a:latin typeface="Poppins Medium"/>
                <a:cs typeface="Poppins Medium"/>
              </a:rPr>
              <a:t>geworden</a:t>
            </a:r>
            <a:r>
              <a:rPr lang="en-US" sz="2000">
                <a:latin typeface="Poppins Medium"/>
                <a:cs typeface="Poppins Medium"/>
              </a:rPr>
              <a:t>? </a:t>
            </a:r>
            <a:br>
              <a:rPr lang="en-US" sz="2000">
                <a:latin typeface="Poppins Medium"/>
                <a:cs typeface="Poppins Medium"/>
              </a:rPr>
            </a:br>
            <a:r>
              <a:rPr lang="en-US" sz="2000" err="1">
                <a:latin typeface="Poppins Light" pitchFamily="2" charset="77"/>
                <a:cs typeface="Poppins Light" pitchFamily="2" charset="77"/>
              </a:rPr>
              <a:t>Kom</a:t>
            </a:r>
            <a:r>
              <a:rPr lang="en-US" sz="2000">
                <a:latin typeface="Poppins Light" pitchFamily="2" charset="77"/>
                <a:cs typeface="Poppins Light" pitchFamily="2" charset="77"/>
              </a:rPr>
              <a:t> </a:t>
            </a:r>
            <a:r>
              <a:rPr lang="en-US" sz="2000" err="1">
                <a:latin typeface="Poppins Light" pitchFamily="2" charset="77"/>
                <a:cs typeface="Poppins Light" pitchFamily="2" charset="77"/>
              </a:rPr>
              <a:t>een</a:t>
            </a:r>
            <a:r>
              <a:rPr lang="en-US" sz="2000">
                <a:latin typeface="Poppins Light" pitchFamily="2" charset="77"/>
                <a:cs typeface="Poppins Light" pitchFamily="2" charset="77"/>
              </a:rPr>
              <a:t> </a:t>
            </a:r>
            <a:r>
              <a:rPr lang="en-US" sz="2000" err="1">
                <a:latin typeface="Poppins Light" pitchFamily="2" charset="77"/>
                <a:cs typeface="Poppins Light" pitchFamily="2" charset="77"/>
              </a:rPr>
              <a:t>praatje</a:t>
            </a:r>
            <a:r>
              <a:rPr lang="en-US" sz="2000">
                <a:latin typeface="Poppins Light" pitchFamily="2" charset="77"/>
                <a:cs typeface="Poppins Light" pitchFamily="2" charset="77"/>
              </a:rPr>
              <a:t> </a:t>
            </a:r>
            <a:r>
              <a:rPr lang="en-US" sz="2000" err="1">
                <a:latin typeface="Poppins Light" pitchFamily="2" charset="77"/>
                <a:cs typeface="Poppins Light" pitchFamily="2" charset="77"/>
              </a:rPr>
              <a:t>maken</a:t>
            </a:r>
            <a:r>
              <a:rPr lang="en-US" sz="2000">
                <a:latin typeface="Poppins Light" pitchFamily="2" charset="77"/>
                <a:cs typeface="Poppins Light" pitchFamily="2" charset="77"/>
              </a:rPr>
              <a:t> </a:t>
            </a:r>
            <a:r>
              <a:rPr lang="en-US" sz="2000" err="1">
                <a:latin typeface="Poppins Light" pitchFamily="2" charset="77"/>
                <a:cs typeface="Poppins Light" pitchFamily="2" charset="77"/>
              </a:rPr>
              <a:t>bij</a:t>
            </a:r>
            <a:r>
              <a:rPr lang="en-US" sz="2000">
                <a:latin typeface="Poppins Light" pitchFamily="2" charset="77"/>
                <a:cs typeface="Poppins Light" pitchFamily="2" charset="77"/>
              </a:rPr>
              <a:t> </a:t>
            </a:r>
            <a:r>
              <a:rPr lang="en-US" sz="2000" err="1">
                <a:latin typeface="Poppins Light" pitchFamily="2" charset="77"/>
                <a:cs typeface="Poppins Light" pitchFamily="2" charset="77"/>
              </a:rPr>
              <a:t>onze</a:t>
            </a:r>
            <a:r>
              <a:rPr lang="en-US" sz="2000">
                <a:latin typeface="Poppins Light" pitchFamily="2" charset="77"/>
                <a:cs typeface="Poppins Light" pitchFamily="2" charset="77"/>
              </a:rPr>
              <a:t> stand!</a:t>
            </a:r>
            <a:br>
              <a:rPr lang="en-US" sz="2000">
                <a:latin typeface="Poppins Light" pitchFamily="2" charset="77"/>
                <a:cs typeface="Poppins Light" pitchFamily="2" charset="77"/>
              </a:rPr>
            </a:br>
            <a:endParaRPr lang="en-NL"/>
          </a:p>
        </p:txBody>
      </p:sp>
    </p:spTree>
    <p:extLst>
      <p:ext uri="{BB962C8B-B14F-4D97-AF65-F5344CB8AC3E}">
        <p14:creationId xmlns:p14="http://schemas.microsoft.com/office/powerpoint/2010/main" val="2291218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1942"/>
        </a:solidFill>
        <a:effectLst/>
      </p:bgPr>
    </p:bg>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FD77F43C-B9E9-C22D-8D01-327006B08644}"/>
              </a:ext>
            </a:extLst>
          </p:cNvPr>
          <p:cNvPicPr>
            <a:picLocks noChangeAspect="1"/>
          </p:cNvPicPr>
          <p:nvPr/>
        </p:nvPicPr>
        <p:blipFill rotWithShape="1">
          <a:blip r:embed="rId3">
            <a:extLst>
              <a:ext uri="{28A0092B-C50C-407E-A947-70E740481C1C}">
                <a14:useLocalDpi xmlns:a14="http://schemas.microsoft.com/office/drawing/2010/main" val="0"/>
              </a:ext>
            </a:extLst>
          </a:blip>
          <a:srcRect l="1235" t="17053" r="737" b="10687"/>
          <a:stretch/>
        </p:blipFill>
        <p:spPr>
          <a:xfrm>
            <a:off x="479425" y="1665288"/>
            <a:ext cx="11233150" cy="4140200"/>
          </a:xfrm>
          <a:prstGeom prst="rect">
            <a:avLst/>
          </a:prstGeom>
        </p:spPr>
      </p:pic>
      <p:sp>
        <p:nvSpPr>
          <p:cNvPr id="6" name="Rechteck 5">
            <a:extLst>
              <a:ext uri="{FF2B5EF4-FFF2-40B4-BE49-F238E27FC236}">
                <a16:creationId xmlns:a16="http://schemas.microsoft.com/office/drawing/2014/main" id="{2380F4E8-CD89-F8A8-B707-A41F0D1D1668}"/>
              </a:ext>
            </a:extLst>
          </p:cNvPr>
          <p:cNvSpPr/>
          <p:nvPr/>
        </p:nvSpPr>
        <p:spPr>
          <a:xfrm>
            <a:off x="10599" y="5973607"/>
            <a:ext cx="2972008" cy="862445"/>
          </a:xfrm>
          <a:prstGeom prst="rect">
            <a:avLst/>
          </a:prstGeom>
          <a:solidFill>
            <a:srgbClr val="24194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7" name="Picture 2" descr="Unite_Mercateo_logo landscape_white_RGB@5x">
            <a:extLst>
              <a:ext uri="{FF2B5EF4-FFF2-40B4-BE49-F238E27FC236}">
                <a16:creationId xmlns:a16="http://schemas.microsoft.com/office/drawing/2014/main" id="{CD21C562-3AEC-FD3F-2771-30B09D706B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a:extLst>
              <a:ext uri="{FF2B5EF4-FFF2-40B4-BE49-F238E27FC236}">
                <a16:creationId xmlns:a16="http://schemas.microsoft.com/office/drawing/2014/main" id="{FE501C76-C9E1-3443-4E1E-64992589A107}"/>
              </a:ext>
            </a:extLst>
          </p:cNvPr>
          <p:cNvSpPr txBox="1"/>
          <p:nvPr/>
        </p:nvSpPr>
        <p:spPr>
          <a:xfrm rot="16200000">
            <a:off x="-468253" y="3675121"/>
            <a:ext cx="3396345" cy="226216"/>
          </a:xfrm>
          <a:prstGeom prst="rect">
            <a:avLst/>
          </a:prstGeom>
          <a:noFill/>
        </p:spPr>
        <p:txBody>
          <a:bodyPr wrap="square" lIns="0" tIns="0" rIns="0" bIns="0" rtlCol="0" anchor="t">
            <a:spAutoFit/>
          </a:bodyPr>
          <a:lstStyle/>
          <a:p>
            <a:pPr algn="ctr" defTabSz="798820">
              <a:lnSpc>
                <a:spcPct val="130000"/>
              </a:lnSpc>
              <a:spcBef>
                <a:spcPts val="1700"/>
              </a:spcBef>
            </a:pPr>
            <a:r>
              <a:rPr lang="de-DE" sz="1200">
                <a:solidFill>
                  <a:schemeClr val="bg2"/>
                </a:solidFill>
                <a:latin typeface="Poppins Light"/>
                <a:cs typeface="Poppins Light"/>
              </a:rPr>
              <a:t>Totale </a:t>
            </a:r>
            <a:r>
              <a:rPr lang="de-DE" sz="1200" err="1">
                <a:solidFill>
                  <a:schemeClr val="bg2"/>
                </a:solidFill>
                <a:latin typeface="Poppins Light"/>
                <a:cs typeface="Poppins Light"/>
              </a:rPr>
              <a:t>uitgaven</a:t>
            </a:r>
            <a:endParaRPr lang="nl-NL" err="1"/>
          </a:p>
        </p:txBody>
      </p:sp>
      <p:sp>
        <p:nvSpPr>
          <p:cNvPr id="9" name="Textfeld 8">
            <a:extLst>
              <a:ext uri="{FF2B5EF4-FFF2-40B4-BE49-F238E27FC236}">
                <a16:creationId xmlns:a16="http://schemas.microsoft.com/office/drawing/2014/main" id="{6D5711F4-3451-1697-3DC7-5CCCCCCA2966}"/>
              </a:ext>
            </a:extLst>
          </p:cNvPr>
          <p:cNvSpPr txBox="1"/>
          <p:nvPr/>
        </p:nvSpPr>
        <p:spPr>
          <a:xfrm>
            <a:off x="1541417" y="5656216"/>
            <a:ext cx="8987246" cy="226216"/>
          </a:xfrm>
          <a:prstGeom prst="rect">
            <a:avLst/>
          </a:prstGeom>
          <a:noFill/>
        </p:spPr>
        <p:txBody>
          <a:bodyPr wrap="square" lIns="0" tIns="0" rIns="0" bIns="0" rtlCol="0" anchor="t">
            <a:spAutoFit/>
          </a:bodyPr>
          <a:lstStyle/>
          <a:p>
            <a:pPr algn="ctr" defTabSz="798820">
              <a:lnSpc>
                <a:spcPct val="130000"/>
              </a:lnSpc>
              <a:spcBef>
                <a:spcPts val="1700"/>
              </a:spcBef>
            </a:pPr>
            <a:r>
              <a:rPr lang="de-DE" sz="1200" err="1">
                <a:solidFill>
                  <a:schemeClr val="bg2"/>
                </a:solidFill>
                <a:latin typeface="Poppins Light"/>
                <a:cs typeface="Poppins Light"/>
              </a:rPr>
              <a:t>Aantal</a:t>
            </a:r>
            <a:r>
              <a:rPr lang="de-DE" sz="1200">
                <a:solidFill>
                  <a:schemeClr val="bg2"/>
                </a:solidFill>
                <a:latin typeface="Poppins Light"/>
                <a:cs typeface="Poppins Light"/>
              </a:rPr>
              <a:t> </a:t>
            </a:r>
            <a:r>
              <a:rPr lang="de-DE" sz="1200" err="1">
                <a:solidFill>
                  <a:schemeClr val="bg2"/>
                </a:solidFill>
                <a:latin typeface="Poppins Light"/>
                <a:cs typeface="Poppins Light"/>
              </a:rPr>
              <a:t>leveranciers</a:t>
            </a:r>
            <a:endParaRPr lang="nl-NL" err="1"/>
          </a:p>
        </p:txBody>
      </p:sp>
      <p:sp>
        <p:nvSpPr>
          <p:cNvPr id="12" name="Title 8">
            <a:extLst>
              <a:ext uri="{FF2B5EF4-FFF2-40B4-BE49-F238E27FC236}">
                <a16:creationId xmlns:a16="http://schemas.microsoft.com/office/drawing/2014/main" id="{F7C2F3B6-4B03-4D7C-6784-9291B28159F1}"/>
              </a:ext>
            </a:extLst>
          </p:cNvPr>
          <p:cNvSpPr>
            <a:spLocks noGrp="1"/>
          </p:cNvSpPr>
          <p:nvPr>
            <p:ph type="title"/>
          </p:nvPr>
        </p:nvSpPr>
        <p:spPr/>
        <p:txBody>
          <a:bodyPr/>
          <a:lstStyle/>
          <a:p>
            <a:pPr>
              <a:lnSpc>
                <a:spcPct val="113999"/>
              </a:lnSpc>
            </a:pPr>
            <a:r>
              <a:rPr lang="nl-NL" sz="1800">
                <a:solidFill>
                  <a:schemeClr val="bg2"/>
                </a:solidFill>
                <a:latin typeface="Poppins Medium"/>
                <a:cs typeface="Poppins Medium"/>
              </a:rPr>
              <a:t>Wat is Indirect Tail Spend?</a:t>
            </a:r>
            <a:endParaRPr lang="nl-NL" sz="1800">
              <a:solidFill>
                <a:schemeClr val="bg2"/>
              </a:solidFill>
            </a:endParaRPr>
          </a:p>
        </p:txBody>
      </p:sp>
      <p:sp>
        <p:nvSpPr>
          <p:cNvPr id="13" name="Textfeld 12">
            <a:extLst>
              <a:ext uri="{FF2B5EF4-FFF2-40B4-BE49-F238E27FC236}">
                <a16:creationId xmlns:a16="http://schemas.microsoft.com/office/drawing/2014/main" id="{61557E83-B00D-87D6-3B91-C8D95A03C484}"/>
              </a:ext>
            </a:extLst>
          </p:cNvPr>
          <p:cNvSpPr txBox="1"/>
          <p:nvPr/>
        </p:nvSpPr>
        <p:spPr>
          <a:xfrm>
            <a:off x="2490650" y="2002685"/>
            <a:ext cx="3396345" cy="301621"/>
          </a:xfrm>
          <a:prstGeom prst="rect">
            <a:avLst/>
          </a:prstGeom>
          <a:noFill/>
        </p:spPr>
        <p:txBody>
          <a:bodyPr wrap="square" lIns="180000" tIns="0" rIns="0" bIns="0" rtlCol="0" anchor="t">
            <a:spAutoFit/>
          </a:bodyPr>
          <a:lstStyle/>
          <a:p>
            <a:pPr defTabSz="798820">
              <a:lnSpc>
                <a:spcPct val="130000"/>
              </a:lnSpc>
              <a:spcBef>
                <a:spcPts val="1700"/>
              </a:spcBef>
            </a:pPr>
            <a:r>
              <a:rPr lang="de-DE" sz="1600">
                <a:solidFill>
                  <a:schemeClr val="bg2"/>
                </a:solidFill>
                <a:latin typeface="Poppins Medium"/>
                <a:cs typeface="Poppins Medium"/>
              </a:rPr>
              <a:t>Strategische </a:t>
            </a:r>
            <a:r>
              <a:rPr lang="de-DE" sz="1600" err="1">
                <a:solidFill>
                  <a:schemeClr val="bg2"/>
                </a:solidFill>
                <a:latin typeface="Poppins Medium"/>
                <a:cs typeface="Poppins Medium"/>
              </a:rPr>
              <a:t>uitgaven</a:t>
            </a:r>
            <a:endParaRPr lang="de-DE" sz="1600">
              <a:solidFill>
                <a:schemeClr val="bg2"/>
              </a:solidFill>
              <a:latin typeface="Poppins Medium"/>
              <a:cs typeface="Poppins Medium"/>
            </a:endParaRPr>
          </a:p>
        </p:txBody>
      </p:sp>
      <p:sp>
        <p:nvSpPr>
          <p:cNvPr id="14" name="Textfeld 13">
            <a:extLst>
              <a:ext uri="{FF2B5EF4-FFF2-40B4-BE49-F238E27FC236}">
                <a16:creationId xmlns:a16="http://schemas.microsoft.com/office/drawing/2014/main" id="{FF0BF9B1-D4A4-B3C4-D9E0-835DA071E4FF}"/>
              </a:ext>
            </a:extLst>
          </p:cNvPr>
          <p:cNvSpPr txBox="1"/>
          <p:nvPr/>
        </p:nvSpPr>
        <p:spPr>
          <a:xfrm>
            <a:off x="6814456" y="2002685"/>
            <a:ext cx="3396345" cy="301621"/>
          </a:xfrm>
          <a:prstGeom prst="rect">
            <a:avLst/>
          </a:prstGeom>
          <a:noFill/>
        </p:spPr>
        <p:txBody>
          <a:bodyPr wrap="square" lIns="180000" tIns="0" rIns="0" bIns="0" rtlCol="0" anchor="t">
            <a:spAutoFit/>
          </a:bodyPr>
          <a:lstStyle/>
          <a:p>
            <a:pPr defTabSz="798820">
              <a:lnSpc>
                <a:spcPct val="130000"/>
              </a:lnSpc>
              <a:spcBef>
                <a:spcPts val="1700"/>
              </a:spcBef>
            </a:pPr>
            <a:r>
              <a:rPr lang="de-DE" sz="1600">
                <a:solidFill>
                  <a:schemeClr val="bg2"/>
                </a:solidFill>
                <a:latin typeface="Poppins Medium"/>
                <a:cs typeface="Poppins Medium"/>
              </a:rPr>
              <a:t>Tail </a:t>
            </a:r>
            <a:r>
              <a:rPr lang="de-DE" sz="1600" err="1">
                <a:solidFill>
                  <a:schemeClr val="bg2"/>
                </a:solidFill>
                <a:latin typeface="Poppins Medium"/>
                <a:cs typeface="Poppins Medium"/>
              </a:rPr>
              <a:t>spend</a:t>
            </a:r>
            <a:r>
              <a:rPr lang="de-DE" sz="1600">
                <a:solidFill>
                  <a:schemeClr val="bg2"/>
                </a:solidFill>
                <a:latin typeface="Poppins Medium"/>
                <a:cs typeface="Poppins Medium"/>
              </a:rPr>
              <a:t> </a:t>
            </a:r>
            <a:r>
              <a:rPr lang="de-DE" sz="1600" err="1">
                <a:solidFill>
                  <a:schemeClr val="bg2"/>
                </a:solidFill>
                <a:latin typeface="Poppins Medium"/>
                <a:cs typeface="Poppins Medium"/>
              </a:rPr>
              <a:t>uitgaven</a:t>
            </a:r>
            <a:endParaRPr lang="nl-NL" err="1">
              <a:solidFill>
                <a:schemeClr val="bg2"/>
              </a:solidFill>
            </a:endParaRPr>
          </a:p>
        </p:txBody>
      </p:sp>
    </p:spTree>
    <p:extLst>
      <p:ext uri="{BB962C8B-B14F-4D97-AF65-F5344CB8AC3E}">
        <p14:creationId xmlns:p14="http://schemas.microsoft.com/office/powerpoint/2010/main" val="30258602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0A877AC1-19BF-A8E8-346D-748D840C44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055805">
            <a:off x="4239009" y="1884088"/>
            <a:ext cx="3050814" cy="147456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CE24C6A6-C6DA-4A08-D61B-48582F10B7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169" y="1806708"/>
            <a:ext cx="2887807" cy="1598435"/>
          </a:xfrm>
          <a:prstGeom prst="rect">
            <a:avLst/>
          </a:prstGeom>
          <a:noFill/>
          <a:extLst>
            <a:ext uri="{909E8E84-426E-40DD-AFC4-6F175D3DCCD1}">
              <a14:hiddenFill xmlns:a14="http://schemas.microsoft.com/office/drawing/2010/main">
                <a:solidFill>
                  <a:srgbClr val="FFFFFF"/>
                </a:solidFill>
              </a14:hiddenFill>
            </a:ext>
          </a:extLst>
        </p:spPr>
      </p:pic>
      <p:pic>
        <p:nvPicPr>
          <p:cNvPr id="25" name="Afbeelding 24" descr="Afbeelding met eerstehulpkit, rood&#10;&#10;Automatisch gegenereerde beschrijving">
            <a:extLst>
              <a:ext uri="{FF2B5EF4-FFF2-40B4-BE49-F238E27FC236}">
                <a16:creationId xmlns:a16="http://schemas.microsoft.com/office/drawing/2014/main" id="{B366DDA7-C354-A84B-7D4C-564BB0E83F1A}"/>
              </a:ext>
            </a:extLst>
          </p:cNvPr>
          <p:cNvPicPr>
            <a:picLocks noChangeAspect="1"/>
          </p:cNvPicPr>
          <p:nvPr/>
        </p:nvPicPr>
        <p:blipFill>
          <a:blip r:embed="rId5"/>
          <a:stretch>
            <a:fillRect/>
          </a:stretch>
        </p:blipFill>
        <p:spPr>
          <a:xfrm>
            <a:off x="8606265" y="1249768"/>
            <a:ext cx="2743200" cy="2743200"/>
          </a:xfrm>
          <a:prstGeom prst="rect">
            <a:avLst/>
          </a:prstGeom>
        </p:spPr>
      </p:pic>
      <p:pic>
        <p:nvPicPr>
          <p:cNvPr id="24" name="Afbeelding 23" descr="Afbeelding met zwart, duisternis&#10;&#10;Automatisch gegenereerde beschrijving">
            <a:extLst>
              <a:ext uri="{FF2B5EF4-FFF2-40B4-BE49-F238E27FC236}">
                <a16:creationId xmlns:a16="http://schemas.microsoft.com/office/drawing/2014/main" id="{55A0B40B-FA0D-70A4-F15F-12E531204E8B}"/>
              </a:ext>
            </a:extLst>
          </p:cNvPr>
          <p:cNvPicPr>
            <a:picLocks noChangeAspect="1"/>
          </p:cNvPicPr>
          <p:nvPr/>
        </p:nvPicPr>
        <p:blipFill>
          <a:blip r:embed="rId6"/>
          <a:stretch>
            <a:fillRect/>
          </a:stretch>
        </p:blipFill>
        <p:spPr>
          <a:xfrm>
            <a:off x="7590141" y="2797761"/>
            <a:ext cx="1498922" cy="1474560"/>
          </a:xfrm>
          <a:prstGeom prst="rect">
            <a:avLst/>
          </a:prstGeom>
        </p:spPr>
      </p:pic>
      <p:pic>
        <p:nvPicPr>
          <p:cNvPr id="27" name="Afbeelding 26" descr="Afbeelding met zwart, duisternis&#10;&#10;Automatisch gegenereerde beschrijving">
            <a:extLst>
              <a:ext uri="{FF2B5EF4-FFF2-40B4-BE49-F238E27FC236}">
                <a16:creationId xmlns:a16="http://schemas.microsoft.com/office/drawing/2014/main" id="{8079DB81-C24F-249C-67ED-00A3A3C53FA3}"/>
              </a:ext>
            </a:extLst>
          </p:cNvPr>
          <p:cNvPicPr>
            <a:picLocks noChangeAspect="1"/>
          </p:cNvPicPr>
          <p:nvPr/>
        </p:nvPicPr>
        <p:blipFill>
          <a:blip r:embed="rId7"/>
          <a:stretch>
            <a:fillRect/>
          </a:stretch>
        </p:blipFill>
        <p:spPr>
          <a:xfrm rot="11400000" flipH="1" flipV="1">
            <a:off x="5214683" y="2552823"/>
            <a:ext cx="1703405" cy="1718281"/>
          </a:xfrm>
          <a:prstGeom prst="rect">
            <a:avLst/>
          </a:prstGeom>
        </p:spPr>
      </p:pic>
      <p:pic>
        <p:nvPicPr>
          <p:cNvPr id="28" name="Afbeelding 27" descr="Afbeelding met zwart, duisternis&#10;&#10;Automatisch gegenereerde beschrijving">
            <a:extLst>
              <a:ext uri="{FF2B5EF4-FFF2-40B4-BE49-F238E27FC236}">
                <a16:creationId xmlns:a16="http://schemas.microsoft.com/office/drawing/2014/main" id="{97F27910-293D-65C0-D6AB-9FC73D49D5D9}"/>
              </a:ext>
            </a:extLst>
          </p:cNvPr>
          <p:cNvPicPr>
            <a:picLocks noChangeAspect="1"/>
          </p:cNvPicPr>
          <p:nvPr/>
        </p:nvPicPr>
        <p:blipFill>
          <a:blip r:embed="rId8"/>
          <a:stretch>
            <a:fillRect/>
          </a:stretch>
        </p:blipFill>
        <p:spPr>
          <a:xfrm>
            <a:off x="1511063" y="3006485"/>
            <a:ext cx="1614669" cy="1614669"/>
          </a:xfrm>
          <a:prstGeom prst="rect">
            <a:avLst/>
          </a:prstGeom>
        </p:spPr>
      </p:pic>
      <p:sp>
        <p:nvSpPr>
          <p:cNvPr id="3" name="Titel 2">
            <a:extLst>
              <a:ext uri="{FF2B5EF4-FFF2-40B4-BE49-F238E27FC236}">
                <a16:creationId xmlns:a16="http://schemas.microsoft.com/office/drawing/2014/main" id="{E958611F-2B4C-2785-6ECE-BB63E9D342A3}"/>
              </a:ext>
            </a:extLst>
          </p:cNvPr>
          <p:cNvSpPr>
            <a:spLocks noGrp="1"/>
          </p:cNvSpPr>
          <p:nvPr>
            <p:ph type="title"/>
          </p:nvPr>
        </p:nvSpPr>
        <p:spPr/>
        <p:txBody>
          <a:bodyPr/>
          <a:lstStyle/>
          <a:p>
            <a:r>
              <a:rPr lang="de-DE" sz="1800">
                <a:latin typeface="Poppins Medium"/>
                <a:cs typeface="Poppins Medium"/>
              </a:rPr>
              <a:t>Wat kost </a:t>
            </a:r>
            <a:r>
              <a:rPr lang="de-DE" sz="1800" err="1">
                <a:latin typeface="Poppins Medium"/>
                <a:cs typeface="Poppins Medium"/>
              </a:rPr>
              <a:t>dit</a:t>
            </a:r>
            <a:r>
              <a:rPr lang="de-DE" sz="1800">
                <a:latin typeface="Poppins Medium"/>
                <a:cs typeface="Poppins Medium"/>
              </a:rPr>
              <a:t> </a:t>
            </a:r>
            <a:r>
              <a:rPr lang="de-DE" sz="1800" err="1">
                <a:latin typeface="Poppins Medium"/>
                <a:cs typeface="Poppins Medium"/>
              </a:rPr>
              <a:t>product</a:t>
            </a:r>
            <a:r>
              <a:rPr lang="de-DE" sz="1800">
                <a:latin typeface="Poppins Medium"/>
                <a:cs typeface="Poppins Medium"/>
              </a:rPr>
              <a:t>?</a:t>
            </a:r>
            <a:endParaRPr lang="de-DE" sz="1800"/>
          </a:p>
        </p:txBody>
      </p:sp>
      <p:sp>
        <p:nvSpPr>
          <p:cNvPr id="7" name="Rectangle: Rounded Corners 6">
            <a:extLst>
              <a:ext uri="{FF2B5EF4-FFF2-40B4-BE49-F238E27FC236}">
                <a16:creationId xmlns:a16="http://schemas.microsoft.com/office/drawing/2014/main" id="{42CC965C-1CD9-5470-FB17-B44479A66005}"/>
              </a:ext>
            </a:extLst>
          </p:cNvPr>
          <p:cNvSpPr/>
          <p:nvPr/>
        </p:nvSpPr>
        <p:spPr>
          <a:xfrm>
            <a:off x="4791914" y="4996299"/>
            <a:ext cx="2310533" cy="67021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chorCtr="0">
            <a:noAutofit/>
          </a:bodyPr>
          <a:lstStyle/>
          <a:p>
            <a:pPr algn="ctr"/>
            <a:r>
              <a:rPr lang="nl-NL" sz="2000">
                <a:solidFill>
                  <a:schemeClr val="bg2"/>
                </a:solidFill>
              </a:rPr>
              <a:t>€ 126</a:t>
            </a:r>
            <a:endParaRPr lang="en-NL" sz="2000">
              <a:solidFill>
                <a:schemeClr val="bg2"/>
              </a:solidFill>
            </a:endParaRPr>
          </a:p>
        </p:txBody>
      </p:sp>
      <p:sp>
        <p:nvSpPr>
          <p:cNvPr id="8" name="Rectangle: Rounded Corners 7">
            <a:extLst>
              <a:ext uri="{FF2B5EF4-FFF2-40B4-BE49-F238E27FC236}">
                <a16:creationId xmlns:a16="http://schemas.microsoft.com/office/drawing/2014/main" id="{CCDD6815-CB5B-ED28-44C7-CE52A5831E99}"/>
              </a:ext>
            </a:extLst>
          </p:cNvPr>
          <p:cNvSpPr/>
          <p:nvPr/>
        </p:nvSpPr>
        <p:spPr>
          <a:xfrm>
            <a:off x="8822598" y="4996299"/>
            <a:ext cx="2310533" cy="67021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chorCtr="0">
            <a:noAutofit/>
          </a:bodyPr>
          <a:lstStyle/>
          <a:p>
            <a:pPr algn="ctr"/>
            <a:r>
              <a:rPr lang="nl-NL" sz="2000">
                <a:solidFill>
                  <a:schemeClr val="bg2"/>
                </a:solidFill>
              </a:rPr>
              <a:t>€ 165,94</a:t>
            </a:r>
            <a:endParaRPr lang="en-NL" sz="2000">
              <a:solidFill>
                <a:schemeClr val="bg2"/>
              </a:solidFill>
            </a:endParaRPr>
          </a:p>
        </p:txBody>
      </p:sp>
      <p:sp>
        <p:nvSpPr>
          <p:cNvPr id="9" name="Rectangle: Rounded Corners 8">
            <a:extLst>
              <a:ext uri="{FF2B5EF4-FFF2-40B4-BE49-F238E27FC236}">
                <a16:creationId xmlns:a16="http://schemas.microsoft.com/office/drawing/2014/main" id="{52023582-CBC4-C446-F38B-1163AF9A8000}"/>
              </a:ext>
            </a:extLst>
          </p:cNvPr>
          <p:cNvSpPr/>
          <p:nvPr/>
        </p:nvSpPr>
        <p:spPr>
          <a:xfrm>
            <a:off x="1040807" y="4996299"/>
            <a:ext cx="2310533" cy="67021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chorCtr="0">
            <a:noAutofit/>
          </a:bodyPr>
          <a:lstStyle/>
          <a:p>
            <a:pPr algn="ctr"/>
            <a:r>
              <a:rPr lang="nl-NL" sz="2000">
                <a:solidFill>
                  <a:schemeClr val="bg2"/>
                </a:solidFill>
              </a:rPr>
              <a:t>€ 141,48</a:t>
            </a:r>
            <a:endParaRPr lang="en-NL" sz="2000">
              <a:solidFill>
                <a:schemeClr val="bg2"/>
              </a:solidFill>
            </a:endParaRPr>
          </a:p>
        </p:txBody>
      </p:sp>
      <p:sp>
        <p:nvSpPr>
          <p:cNvPr id="11" name="Tekstvak 10">
            <a:extLst>
              <a:ext uri="{FF2B5EF4-FFF2-40B4-BE49-F238E27FC236}">
                <a16:creationId xmlns:a16="http://schemas.microsoft.com/office/drawing/2014/main" id="{F4F6646E-442C-32FD-048F-92CC117A11AE}"/>
              </a:ext>
            </a:extLst>
          </p:cNvPr>
          <p:cNvSpPr txBox="1"/>
          <p:nvPr/>
        </p:nvSpPr>
        <p:spPr>
          <a:xfrm>
            <a:off x="2367748" y="3667025"/>
            <a:ext cx="213200" cy="58605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defTabSz="798820">
              <a:lnSpc>
                <a:spcPct val="130000"/>
              </a:lnSpc>
              <a:spcBef>
                <a:spcPts val="1700"/>
              </a:spcBef>
              <a:buClr>
                <a:schemeClr val="tx2"/>
              </a:buClr>
              <a:buSzPct val="120000"/>
            </a:pPr>
            <a:r>
              <a:rPr lang="nl-NL" sz="3200"/>
              <a:t>?</a:t>
            </a:r>
            <a:endParaRPr lang="nl-NL"/>
          </a:p>
        </p:txBody>
      </p:sp>
      <p:sp>
        <p:nvSpPr>
          <p:cNvPr id="18" name="Tekstvak 17">
            <a:extLst>
              <a:ext uri="{FF2B5EF4-FFF2-40B4-BE49-F238E27FC236}">
                <a16:creationId xmlns:a16="http://schemas.microsoft.com/office/drawing/2014/main" id="{9F59943D-902B-E2C6-7839-527E96827E39}"/>
              </a:ext>
            </a:extLst>
          </p:cNvPr>
          <p:cNvSpPr txBox="1"/>
          <p:nvPr/>
        </p:nvSpPr>
        <p:spPr>
          <a:xfrm>
            <a:off x="8126402" y="3356464"/>
            <a:ext cx="213200" cy="58605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defTabSz="798820">
              <a:lnSpc>
                <a:spcPct val="130000"/>
              </a:lnSpc>
              <a:spcBef>
                <a:spcPts val="1700"/>
              </a:spcBef>
              <a:buClr>
                <a:schemeClr val="tx2"/>
              </a:buClr>
              <a:buSzPct val="120000"/>
            </a:pPr>
            <a:r>
              <a:rPr lang="nl-NL" sz="3200"/>
              <a:t>?</a:t>
            </a:r>
            <a:endParaRPr lang="nl-NL"/>
          </a:p>
        </p:txBody>
      </p:sp>
      <p:sp>
        <p:nvSpPr>
          <p:cNvPr id="19" name="Tekstvak 18">
            <a:extLst>
              <a:ext uri="{FF2B5EF4-FFF2-40B4-BE49-F238E27FC236}">
                <a16:creationId xmlns:a16="http://schemas.microsoft.com/office/drawing/2014/main" id="{8608F903-DB7E-8560-3733-BB90BFDF8A1F}"/>
              </a:ext>
            </a:extLst>
          </p:cNvPr>
          <p:cNvSpPr txBox="1"/>
          <p:nvPr/>
        </p:nvSpPr>
        <p:spPr>
          <a:xfrm>
            <a:off x="6095095" y="3253597"/>
            <a:ext cx="213200" cy="58605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defTabSz="798820">
              <a:lnSpc>
                <a:spcPct val="130000"/>
              </a:lnSpc>
              <a:spcBef>
                <a:spcPts val="1700"/>
              </a:spcBef>
              <a:buClr>
                <a:schemeClr val="tx2"/>
              </a:buClr>
              <a:buSzPct val="120000"/>
            </a:pPr>
            <a:r>
              <a:rPr lang="nl-NL" sz="3200"/>
              <a:t>?</a:t>
            </a:r>
            <a:endParaRPr lang="nl-NL"/>
          </a:p>
        </p:txBody>
      </p:sp>
      <p:sp>
        <p:nvSpPr>
          <p:cNvPr id="2" name="Tekstvak 10">
            <a:extLst>
              <a:ext uri="{FF2B5EF4-FFF2-40B4-BE49-F238E27FC236}">
                <a16:creationId xmlns:a16="http://schemas.microsoft.com/office/drawing/2014/main" id="{C220D64F-1730-F1DA-A71E-69F2C282DDD6}"/>
              </a:ext>
            </a:extLst>
          </p:cNvPr>
          <p:cNvSpPr txBox="1"/>
          <p:nvPr/>
        </p:nvSpPr>
        <p:spPr>
          <a:xfrm rot="443451">
            <a:off x="1970219" y="3753237"/>
            <a:ext cx="1022743" cy="3663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spcBef>
                <a:spcPts val="1700"/>
              </a:spcBef>
              <a:buClr>
                <a:schemeClr val="tx2"/>
              </a:buClr>
              <a:buSzPct val="120000"/>
            </a:pPr>
            <a:r>
              <a:rPr lang="nl-NL" sz="2000" b="1">
                <a:ea typeface="Noto Sans"/>
                <a:cs typeface="Noto Sans"/>
              </a:rPr>
              <a:t>€ 26,20</a:t>
            </a:r>
          </a:p>
        </p:txBody>
      </p:sp>
      <p:sp>
        <p:nvSpPr>
          <p:cNvPr id="4" name="Tekstvak 10">
            <a:extLst>
              <a:ext uri="{FF2B5EF4-FFF2-40B4-BE49-F238E27FC236}">
                <a16:creationId xmlns:a16="http://schemas.microsoft.com/office/drawing/2014/main" id="{EDB8A7A1-1D68-C56D-452D-6BBBF37FE595}"/>
              </a:ext>
            </a:extLst>
          </p:cNvPr>
          <p:cNvSpPr txBox="1"/>
          <p:nvPr/>
        </p:nvSpPr>
        <p:spPr>
          <a:xfrm rot="443451">
            <a:off x="5730367" y="3351882"/>
            <a:ext cx="1022743" cy="3663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spcBef>
                <a:spcPts val="1700"/>
              </a:spcBef>
              <a:buClr>
                <a:schemeClr val="tx2"/>
              </a:buClr>
              <a:buSzPct val="120000"/>
            </a:pPr>
            <a:r>
              <a:rPr lang="nl-NL" sz="2000" b="1">
                <a:ea typeface="Noto Sans"/>
                <a:cs typeface="Noto Sans"/>
              </a:rPr>
              <a:t>€ 10,72</a:t>
            </a:r>
          </a:p>
        </p:txBody>
      </p:sp>
      <p:sp>
        <p:nvSpPr>
          <p:cNvPr id="5" name="Tekstvak 10">
            <a:extLst>
              <a:ext uri="{FF2B5EF4-FFF2-40B4-BE49-F238E27FC236}">
                <a16:creationId xmlns:a16="http://schemas.microsoft.com/office/drawing/2014/main" id="{9F9A80DD-C6F6-4C1D-6E17-860BA00267DE}"/>
              </a:ext>
            </a:extLst>
          </p:cNvPr>
          <p:cNvSpPr txBox="1"/>
          <p:nvPr/>
        </p:nvSpPr>
        <p:spPr>
          <a:xfrm rot="21349968">
            <a:off x="7748887" y="3465676"/>
            <a:ext cx="1022743" cy="36631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spcBef>
                <a:spcPts val="1700"/>
              </a:spcBef>
              <a:buClr>
                <a:schemeClr val="tx2"/>
              </a:buClr>
              <a:buSzPct val="120000"/>
            </a:pPr>
            <a:r>
              <a:rPr lang="nl-NL" sz="2000" b="1">
                <a:ea typeface="Noto Sans"/>
                <a:cs typeface="Noto Sans"/>
              </a:rPr>
              <a:t>€ 50,66</a:t>
            </a:r>
          </a:p>
        </p:txBody>
      </p:sp>
    </p:spTree>
    <p:extLst>
      <p:ext uri="{BB962C8B-B14F-4D97-AF65-F5344CB8AC3E}">
        <p14:creationId xmlns:p14="http://schemas.microsoft.com/office/powerpoint/2010/main" val="2559440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1" grpId="0"/>
      <p:bldP spid="18" grpId="0"/>
      <p:bldP spid="19" grpId="0"/>
      <p:bldP spid="2" grpId="0"/>
      <p:bldP spid="4"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41942"/>
        </a:solidFill>
        <a:effectLst/>
      </p:bgPr>
    </p:bg>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2380F4E8-CD89-F8A8-B707-A41F0D1D1668}"/>
              </a:ext>
            </a:extLst>
          </p:cNvPr>
          <p:cNvSpPr/>
          <p:nvPr/>
        </p:nvSpPr>
        <p:spPr>
          <a:xfrm>
            <a:off x="10599" y="5973607"/>
            <a:ext cx="2972008" cy="862445"/>
          </a:xfrm>
          <a:prstGeom prst="rect">
            <a:avLst/>
          </a:prstGeom>
          <a:solidFill>
            <a:srgbClr val="24194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7" name="Picture 2" descr="Unite_Mercateo_logo landscape_white_RGB@5x">
            <a:extLst>
              <a:ext uri="{FF2B5EF4-FFF2-40B4-BE49-F238E27FC236}">
                <a16:creationId xmlns:a16="http://schemas.microsoft.com/office/drawing/2014/main" id="{CD21C562-3AEC-FD3F-2771-30B09D706B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pic>
        <p:nvPicPr>
          <p:cNvPr id="8" name="Afbeelding 2">
            <a:extLst>
              <a:ext uri="{FF2B5EF4-FFF2-40B4-BE49-F238E27FC236}">
                <a16:creationId xmlns:a16="http://schemas.microsoft.com/office/drawing/2014/main" id="{0014745F-8339-8143-0B5E-F7016AD76DC9}"/>
              </a:ext>
            </a:extLst>
          </p:cNvPr>
          <p:cNvPicPr>
            <a:picLocks noChangeAspect="1"/>
          </p:cNvPicPr>
          <p:nvPr/>
        </p:nvPicPr>
        <p:blipFill rotWithShape="1">
          <a:blip r:embed="rId4">
            <a:extLst>
              <a:ext uri="{28A0092B-C50C-407E-A947-70E740481C1C}">
                <a14:useLocalDpi xmlns:a14="http://schemas.microsoft.com/office/drawing/2010/main" val="0"/>
              </a:ext>
            </a:extLst>
          </a:blip>
          <a:srcRect l="1235" t="17053" r="737" b="10687"/>
          <a:stretch/>
        </p:blipFill>
        <p:spPr>
          <a:xfrm>
            <a:off x="479425" y="1665288"/>
            <a:ext cx="11233150" cy="4140200"/>
          </a:xfrm>
          <a:prstGeom prst="rect">
            <a:avLst/>
          </a:prstGeom>
        </p:spPr>
      </p:pic>
      <p:sp>
        <p:nvSpPr>
          <p:cNvPr id="9" name="Textfeld 8">
            <a:extLst>
              <a:ext uri="{FF2B5EF4-FFF2-40B4-BE49-F238E27FC236}">
                <a16:creationId xmlns:a16="http://schemas.microsoft.com/office/drawing/2014/main" id="{99C3A0AC-0E9A-4CBC-8B95-F43C1F7CBBBD}"/>
              </a:ext>
            </a:extLst>
          </p:cNvPr>
          <p:cNvSpPr txBox="1"/>
          <p:nvPr/>
        </p:nvSpPr>
        <p:spPr>
          <a:xfrm rot="16200000">
            <a:off x="-468253" y="3675121"/>
            <a:ext cx="3396345" cy="226216"/>
          </a:xfrm>
          <a:prstGeom prst="rect">
            <a:avLst/>
          </a:prstGeom>
          <a:noFill/>
        </p:spPr>
        <p:txBody>
          <a:bodyPr wrap="square" lIns="0" tIns="0" rIns="0" bIns="0" rtlCol="0" anchor="t">
            <a:spAutoFit/>
          </a:bodyPr>
          <a:lstStyle/>
          <a:p>
            <a:pPr algn="ctr" defTabSz="798820">
              <a:lnSpc>
                <a:spcPct val="130000"/>
              </a:lnSpc>
              <a:spcBef>
                <a:spcPts val="1700"/>
              </a:spcBef>
            </a:pPr>
            <a:r>
              <a:rPr lang="de-DE" sz="1200">
                <a:solidFill>
                  <a:schemeClr val="bg2"/>
                </a:solidFill>
                <a:latin typeface="Poppins Light"/>
                <a:cs typeface="Poppins Light"/>
              </a:rPr>
              <a:t>Totale </a:t>
            </a:r>
            <a:r>
              <a:rPr lang="de-DE" sz="1200" err="1">
                <a:solidFill>
                  <a:schemeClr val="bg2"/>
                </a:solidFill>
                <a:latin typeface="Poppins Light"/>
                <a:cs typeface="Poppins Light"/>
              </a:rPr>
              <a:t>uitgaven</a:t>
            </a:r>
            <a:endParaRPr lang="nl-NL" err="1"/>
          </a:p>
        </p:txBody>
      </p:sp>
      <p:sp>
        <p:nvSpPr>
          <p:cNvPr id="10" name="Textfeld 9">
            <a:extLst>
              <a:ext uri="{FF2B5EF4-FFF2-40B4-BE49-F238E27FC236}">
                <a16:creationId xmlns:a16="http://schemas.microsoft.com/office/drawing/2014/main" id="{DF9812B7-908D-3895-D9ED-49CE10301889}"/>
              </a:ext>
            </a:extLst>
          </p:cNvPr>
          <p:cNvSpPr txBox="1"/>
          <p:nvPr/>
        </p:nvSpPr>
        <p:spPr>
          <a:xfrm>
            <a:off x="1541417" y="5656216"/>
            <a:ext cx="8987246" cy="226216"/>
          </a:xfrm>
          <a:prstGeom prst="rect">
            <a:avLst/>
          </a:prstGeom>
          <a:noFill/>
        </p:spPr>
        <p:txBody>
          <a:bodyPr wrap="square" lIns="0" tIns="0" rIns="0" bIns="0" rtlCol="0" anchor="t">
            <a:spAutoFit/>
          </a:bodyPr>
          <a:lstStyle/>
          <a:p>
            <a:pPr algn="ctr" defTabSz="798820">
              <a:lnSpc>
                <a:spcPct val="130000"/>
              </a:lnSpc>
              <a:spcBef>
                <a:spcPts val="1700"/>
              </a:spcBef>
            </a:pPr>
            <a:r>
              <a:rPr lang="de-DE" sz="1200" err="1">
                <a:solidFill>
                  <a:schemeClr val="bg2"/>
                </a:solidFill>
                <a:latin typeface="Poppins Light"/>
                <a:cs typeface="Poppins Light"/>
              </a:rPr>
              <a:t>Aantal</a:t>
            </a:r>
            <a:r>
              <a:rPr lang="de-DE" sz="1200">
                <a:solidFill>
                  <a:schemeClr val="bg2"/>
                </a:solidFill>
                <a:latin typeface="Poppins Light"/>
                <a:cs typeface="Poppins Light"/>
              </a:rPr>
              <a:t> </a:t>
            </a:r>
            <a:r>
              <a:rPr lang="de-DE" sz="1200" err="1">
                <a:solidFill>
                  <a:schemeClr val="bg2"/>
                </a:solidFill>
                <a:latin typeface="Poppins Light"/>
                <a:cs typeface="Poppins Light"/>
              </a:rPr>
              <a:t>leveranciers</a:t>
            </a:r>
            <a:endParaRPr lang="nl-NL" err="1">
              <a:solidFill>
                <a:schemeClr val="bg2"/>
              </a:solidFill>
            </a:endParaRPr>
          </a:p>
        </p:txBody>
      </p:sp>
      <p:sp>
        <p:nvSpPr>
          <p:cNvPr id="11" name="Textfeld 10">
            <a:extLst>
              <a:ext uri="{FF2B5EF4-FFF2-40B4-BE49-F238E27FC236}">
                <a16:creationId xmlns:a16="http://schemas.microsoft.com/office/drawing/2014/main" id="{98286E1B-5DE0-CA33-A89C-675861CF8486}"/>
              </a:ext>
            </a:extLst>
          </p:cNvPr>
          <p:cNvSpPr txBox="1"/>
          <p:nvPr/>
        </p:nvSpPr>
        <p:spPr>
          <a:xfrm>
            <a:off x="2490650" y="2002685"/>
            <a:ext cx="3396345" cy="301621"/>
          </a:xfrm>
          <a:prstGeom prst="rect">
            <a:avLst/>
          </a:prstGeom>
          <a:noFill/>
        </p:spPr>
        <p:txBody>
          <a:bodyPr wrap="square" lIns="180000" tIns="0" rIns="0" bIns="0" rtlCol="0" anchor="t">
            <a:spAutoFit/>
          </a:bodyPr>
          <a:lstStyle/>
          <a:p>
            <a:pPr defTabSz="798820">
              <a:lnSpc>
                <a:spcPct val="130000"/>
              </a:lnSpc>
              <a:spcBef>
                <a:spcPts val="1700"/>
              </a:spcBef>
            </a:pPr>
            <a:r>
              <a:rPr lang="de-DE" sz="1600">
                <a:solidFill>
                  <a:schemeClr val="bg2"/>
                </a:solidFill>
                <a:latin typeface="Poppins Medium"/>
                <a:cs typeface="Poppins Medium"/>
              </a:rPr>
              <a:t>Strategische </a:t>
            </a:r>
            <a:r>
              <a:rPr lang="de-DE" sz="1600" err="1">
                <a:solidFill>
                  <a:schemeClr val="bg2"/>
                </a:solidFill>
                <a:latin typeface="Poppins Medium"/>
                <a:cs typeface="Poppins Medium"/>
              </a:rPr>
              <a:t>uitgaven</a:t>
            </a:r>
          </a:p>
        </p:txBody>
      </p:sp>
      <p:sp>
        <p:nvSpPr>
          <p:cNvPr id="12" name="Textfeld 11">
            <a:extLst>
              <a:ext uri="{FF2B5EF4-FFF2-40B4-BE49-F238E27FC236}">
                <a16:creationId xmlns:a16="http://schemas.microsoft.com/office/drawing/2014/main" id="{01F8798E-9B70-9E3A-6B41-9DB19CE3135B}"/>
              </a:ext>
            </a:extLst>
          </p:cNvPr>
          <p:cNvSpPr txBox="1"/>
          <p:nvPr/>
        </p:nvSpPr>
        <p:spPr>
          <a:xfrm>
            <a:off x="6814456" y="2002685"/>
            <a:ext cx="3396345" cy="301621"/>
          </a:xfrm>
          <a:prstGeom prst="rect">
            <a:avLst/>
          </a:prstGeom>
          <a:noFill/>
        </p:spPr>
        <p:txBody>
          <a:bodyPr wrap="square" lIns="180000" tIns="0" rIns="0" bIns="0" rtlCol="0" anchor="t">
            <a:spAutoFit/>
          </a:bodyPr>
          <a:lstStyle/>
          <a:p>
            <a:pPr defTabSz="798820">
              <a:lnSpc>
                <a:spcPct val="130000"/>
              </a:lnSpc>
              <a:spcBef>
                <a:spcPts val="1700"/>
              </a:spcBef>
            </a:pPr>
            <a:r>
              <a:rPr lang="de-DE" sz="1600">
                <a:solidFill>
                  <a:schemeClr val="bg2"/>
                </a:solidFill>
                <a:latin typeface="Poppins Medium"/>
                <a:cs typeface="Poppins Medium"/>
              </a:rPr>
              <a:t>Tail </a:t>
            </a:r>
            <a:r>
              <a:rPr lang="de-DE" sz="1600" err="1">
                <a:solidFill>
                  <a:schemeClr val="bg2"/>
                </a:solidFill>
                <a:latin typeface="Poppins Medium"/>
                <a:cs typeface="Poppins Medium"/>
              </a:rPr>
              <a:t>spend</a:t>
            </a:r>
            <a:r>
              <a:rPr lang="de-DE" sz="1600">
                <a:solidFill>
                  <a:schemeClr val="bg2"/>
                </a:solidFill>
                <a:latin typeface="Poppins Medium"/>
                <a:cs typeface="Poppins Medium"/>
              </a:rPr>
              <a:t> </a:t>
            </a:r>
            <a:r>
              <a:rPr lang="de-DE" sz="1600" err="1">
                <a:solidFill>
                  <a:schemeClr val="bg2"/>
                </a:solidFill>
                <a:latin typeface="Poppins Medium"/>
                <a:cs typeface="Poppins Medium"/>
              </a:rPr>
              <a:t>uitgaven</a:t>
            </a:r>
            <a:endParaRPr lang="nl-NL" err="1"/>
          </a:p>
        </p:txBody>
      </p:sp>
      <p:sp>
        <p:nvSpPr>
          <p:cNvPr id="13" name="Title 8">
            <a:extLst>
              <a:ext uri="{FF2B5EF4-FFF2-40B4-BE49-F238E27FC236}">
                <a16:creationId xmlns:a16="http://schemas.microsoft.com/office/drawing/2014/main" id="{63E20E1A-6ADA-8698-5116-7DBF2FAD1953}"/>
              </a:ext>
            </a:extLst>
          </p:cNvPr>
          <p:cNvSpPr>
            <a:spLocks noGrp="1"/>
          </p:cNvSpPr>
          <p:nvPr>
            <p:ph type="title"/>
          </p:nvPr>
        </p:nvSpPr>
        <p:spPr/>
        <p:txBody>
          <a:bodyPr/>
          <a:lstStyle/>
          <a:p>
            <a:pPr>
              <a:lnSpc>
                <a:spcPct val="113999"/>
              </a:lnSpc>
            </a:pPr>
            <a:r>
              <a:rPr lang="nl-NL" sz="1800">
                <a:solidFill>
                  <a:schemeClr val="bg2"/>
                </a:solidFill>
                <a:latin typeface="Poppins Medium"/>
                <a:cs typeface="Poppins Medium"/>
              </a:rPr>
              <a:t>De impact van Indirect Tail Spend</a:t>
            </a:r>
            <a:endParaRPr lang="en-US">
              <a:solidFill>
                <a:schemeClr val="bg2"/>
              </a:solidFill>
            </a:endParaRPr>
          </a:p>
        </p:txBody>
      </p:sp>
      <p:sp>
        <p:nvSpPr>
          <p:cNvPr id="14" name="Textfeld 13">
            <a:extLst>
              <a:ext uri="{FF2B5EF4-FFF2-40B4-BE49-F238E27FC236}">
                <a16:creationId xmlns:a16="http://schemas.microsoft.com/office/drawing/2014/main" id="{355B67BE-A4EA-7573-E5F6-1B7785952BEB}"/>
              </a:ext>
            </a:extLst>
          </p:cNvPr>
          <p:cNvSpPr txBox="1"/>
          <p:nvPr/>
        </p:nvSpPr>
        <p:spPr>
          <a:xfrm>
            <a:off x="2490650" y="2203853"/>
            <a:ext cx="1629212" cy="904863"/>
          </a:xfrm>
          <a:prstGeom prst="rect">
            <a:avLst/>
          </a:prstGeom>
          <a:noFill/>
        </p:spPr>
        <p:txBody>
          <a:bodyPr wrap="square" lIns="180000" tIns="0" rIns="0" bIns="0" rtlCol="0">
            <a:spAutoFit/>
          </a:bodyPr>
          <a:lstStyle/>
          <a:p>
            <a:pPr marL="0" defTabSz="798820">
              <a:lnSpc>
                <a:spcPct val="130000"/>
              </a:lnSpc>
              <a:spcBef>
                <a:spcPts val="1700"/>
              </a:spcBef>
              <a:buClr>
                <a:schemeClr val="tx2"/>
              </a:buClr>
              <a:buSzPct val="120000"/>
            </a:pPr>
            <a:r>
              <a:rPr lang="de-DE" sz="4800">
                <a:solidFill>
                  <a:schemeClr val="bg2"/>
                </a:solidFill>
                <a:latin typeface="Poppins Light" pitchFamily="2" charset="77"/>
                <a:cs typeface="Poppins Light" pitchFamily="2" charset="77"/>
              </a:rPr>
              <a:t>80%</a:t>
            </a:r>
          </a:p>
        </p:txBody>
      </p:sp>
      <p:sp>
        <p:nvSpPr>
          <p:cNvPr id="15" name="Textfeld 14">
            <a:extLst>
              <a:ext uri="{FF2B5EF4-FFF2-40B4-BE49-F238E27FC236}">
                <a16:creationId xmlns:a16="http://schemas.microsoft.com/office/drawing/2014/main" id="{423E4A56-1417-3632-6AED-C51BDCC13FA3}"/>
              </a:ext>
            </a:extLst>
          </p:cNvPr>
          <p:cNvSpPr txBox="1"/>
          <p:nvPr/>
        </p:nvSpPr>
        <p:spPr>
          <a:xfrm>
            <a:off x="6814456" y="2203853"/>
            <a:ext cx="1629212" cy="904863"/>
          </a:xfrm>
          <a:prstGeom prst="rect">
            <a:avLst/>
          </a:prstGeom>
          <a:noFill/>
        </p:spPr>
        <p:txBody>
          <a:bodyPr wrap="square" lIns="180000" tIns="0" rIns="0" bIns="0" rtlCol="0">
            <a:spAutoFit/>
          </a:bodyPr>
          <a:lstStyle/>
          <a:p>
            <a:pPr marL="0" defTabSz="798820">
              <a:lnSpc>
                <a:spcPct val="130000"/>
              </a:lnSpc>
              <a:spcBef>
                <a:spcPts val="1700"/>
              </a:spcBef>
              <a:buClr>
                <a:schemeClr val="tx2"/>
              </a:buClr>
              <a:buSzPct val="120000"/>
            </a:pPr>
            <a:r>
              <a:rPr lang="de-DE" sz="4800">
                <a:solidFill>
                  <a:schemeClr val="bg2"/>
                </a:solidFill>
                <a:latin typeface="Poppins Light" pitchFamily="2" charset="77"/>
                <a:cs typeface="Poppins Light" pitchFamily="2" charset="77"/>
              </a:rPr>
              <a:t>20%</a:t>
            </a:r>
          </a:p>
        </p:txBody>
      </p:sp>
      <p:sp>
        <p:nvSpPr>
          <p:cNvPr id="16" name="Textfeld 15">
            <a:extLst>
              <a:ext uri="{FF2B5EF4-FFF2-40B4-BE49-F238E27FC236}">
                <a16:creationId xmlns:a16="http://schemas.microsoft.com/office/drawing/2014/main" id="{E908704B-E766-288E-3598-4836AAC1DF5D}"/>
              </a:ext>
            </a:extLst>
          </p:cNvPr>
          <p:cNvSpPr txBox="1"/>
          <p:nvPr/>
        </p:nvSpPr>
        <p:spPr>
          <a:xfrm>
            <a:off x="2490650" y="3008525"/>
            <a:ext cx="4150430" cy="297517"/>
          </a:xfrm>
          <a:prstGeom prst="rect">
            <a:avLst/>
          </a:prstGeom>
          <a:noFill/>
        </p:spPr>
        <p:txBody>
          <a:bodyPr wrap="square" lIns="180000" tIns="0" rIns="0" bIns="0" rtlCol="0" anchor="t">
            <a:spAutoFit/>
          </a:bodyPr>
          <a:lstStyle/>
          <a:p>
            <a:pPr defTabSz="798820">
              <a:lnSpc>
                <a:spcPct val="130000"/>
              </a:lnSpc>
              <a:spcBef>
                <a:spcPts val="1700"/>
              </a:spcBef>
              <a:buClr>
                <a:schemeClr val="tx2"/>
              </a:buClr>
              <a:buSzPct val="120000"/>
            </a:pPr>
            <a:r>
              <a:rPr lang="de-DE" sz="1600">
                <a:solidFill>
                  <a:schemeClr val="bg2"/>
                </a:solidFill>
                <a:latin typeface="Poppins Light"/>
                <a:cs typeface="Poppins Light"/>
              </a:rPr>
              <a:t>20% van de </a:t>
            </a:r>
            <a:r>
              <a:rPr lang="de-DE" sz="1600" err="1">
                <a:solidFill>
                  <a:schemeClr val="bg2"/>
                </a:solidFill>
                <a:latin typeface="Poppins Light"/>
                <a:cs typeface="Poppins Light"/>
              </a:rPr>
              <a:t>leveranciers</a:t>
            </a:r>
            <a:r>
              <a:rPr lang="de-DE" sz="1600">
                <a:solidFill>
                  <a:schemeClr val="bg2"/>
                </a:solidFill>
                <a:latin typeface="Poppins Light"/>
                <a:cs typeface="Poppins Light"/>
              </a:rPr>
              <a:t> / kosten</a:t>
            </a:r>
            <a:endParaRPr lang="de-DE" sz="1600">
              <a:solidFill>
                <a:schemeClr val="bg2"/>
              </a:solidFill>
              <a:latin typeface="Poppins Light" pitchFamily="2" charset="77"/>
              <a:cs typeface="Poppins Light" pitchFamily="2" charset="77"/>
            </a:endParaRPr>
          </a:p>
        </p:txBody>
      </p:sp>
      <p:sp>
        <p:nvSpPr>
          <p:cNvPr id="17" name="Textfeld 16">
            <a:extLst>
              <a:ext uri="{FF2B5EF4-FFF2-40B4-BE49-F238E27FC236}">
                <a16:creationId xmlns:a16="http://schemas.microsoft.com/office/drawing/2014/main" id="{F9B63FC1-0512-B5BB-3E9D-FDA95F582FC8}"/>
              </a:ext>
            </a:extLst>
          </p:cNvPr>
          <p:cNvSpPr txBox="1"/>
          <p:nvPr/>
        </p:nvSpPr>
        <p:spPr>
          <a:xfrm>
            <a:off x="6814456" y="3008525"/>
            <a:ext cx="3714207" cy="297517"/>
          </a:xfrm>
          <a:prstGeom prst="rect">
            <a:avLst/>
          </a:prstGeom>
          <a:noFill/>
        </p:spPr>
        <p:txBody>
          <a:bodyPr wrap="square" lIns="180000" tIns="0" rIns="0" bIns="0" rtlCol="0" anchor="t">
            <a:spAutoFit/>
          </a:bodyPr>
          <a:lstStyle/>
          <a:p>
            <a:pPr defTabSz="798820">
              <a:lnSpc>
                <a:spcPct val="130000"/>
              </a:lnSpc>
              <a:spcBef>
                <a:spcPts val="1700"/>
              </a:spcBef>
              <a:buClr>
                <a:schemeClr val="tx2"/>
              </a:buClr>
              <a:buSzPct val="120000"/>
            </a:pPr>
            <a:r>
              <a:rPr lang="de-DE" sz="1600">
                <a:solidFill>
                  <a:schemeClr val="bg2"/>
                </a:solidFill>
                <a:latin typeface="Poppins Light"/>
                <a:cs typeface="Poppins Light"/>
              </a:rPr>
              <a:t>80% van de </a:t>
            </a:r>
            <a:r>
              <a:rPr lang="de-DE" sz="1600" err="1">
                <a:solidFill>
                  <a:schemeClr val="bg2"/>
                </a:solidFill>
                <a:latin typeface="Poppins Light"/>
                <a:cs typeface="Poppins Light"/>
              </a:rPr>
              <a:t>leveranciers</a:t>
            </a:r>
            <a:r>
              <a:rPr lang="de-DE" sz="1600">
                <a:solidFill>
                  <a:schemeClr val="bg2"/>
                </a:solidFill>
                <a:latin typeface="Poppins Light"/>
                <a:cs typeface="Poppins Light"/>
              </a:rPr>
              <a:t> / kosten</a:t>
            </a:r>
            <a:endParaRPr lang="de-DE" sz="1600">
              <a:solidFill>
                <a:schemeClr val="bg2"/>
              </a:solidFill>
              <a:latin typeface="Poppins Light" pitchFamily="2" charset="77"/>
              <a:cs typeface="Poppins Light" pitchFamily="2" charset="77"/>
            </a:endParaRPr>
          </a:p>
        </p:txBody>
      </p:sp>
      <p:sp>
        <p:nvSpPr>
          <p:cNvPr id="18" name="Textfeld 17">
            <a:extLst>
              <a:ext uri="{FF2B5EF4-FFF2-40B4-BE49-F238E27FC236}">
                <a16:creationId xmlns:a16="http://schemas.microsoft.com/office/drawing/2014/main" id="{6DFEABCB-90CF-4D6D-607F-3A232DADCD2A}"/>
              </a:ext>
            </a:extLst>
          </p:cNvPr>
          <p:cNvSpPr txBox="1"/>
          <p:nvPr/>
        </p:nvSpPr>
        <p:spPr>
          <a:xfrm>
            <a:off x="3899701" y="2436466"/>
            <a:ext cx="1713080" cy="540084"/>
          </a:xfrm>
          <a:prstGeom prst="rect">
            <a:avLst/>
          </a:prstGeom>
          <a:noFill/>
        </p:spPr>
        <p:txBody>
          <a:bodyPr wrap="square" lIns="180000" tIns="0" rIns="0" bIns="0" rtlCol="0" anchor="t">
            <a:spAutoFit/>
          </a:bodyPr>
          <a:lstStyle/>
          <a:p>
            <a:pPr defTabSz="798820">
              <a:lnSpc>
                <a:spcPct val="112000"/>
              </a:lnSpc>
              <a:buClr>
                <a:schemeClr val="tx2"/>
              </a:buClr>
              <a:buSzPct val="120000"/>
            </a:pPr>
            <a:r>
              <a:rPr lang="de-DE" sz="1600">
                <a:solidFill>
                  <a:schemeClr val="bg2"/>
                </a:solidFill>
                <a:latin typeface="Poppins Light"/>
                <a:cs typeface="Poppins Light"/>
              </a:rPr>
              <a:t>van de uitgaven</a:t>
            </a:r>
            <a:endParaRPr lang="de-DE" sz="1600">
              <a:solidFill>
                <a:schemeClr val="bg2"/>
              </a:solidFill>
              <a:latin typeface="Poppins Light" pitchFamily="2" charset="77"/>
              <a:cs typeface="Poppins Light" pitchFamily="2" charset="77"/>
            </a:endParaRPr>
          </a:p>
        </p:txBody>
      </p:sp>
      <p:sp>
        <p:nvSpPr>
          <p:cNvPr id="19" name="Textfeld 18">
            <a:extLst>
              <a:ext uri="{FF2B5EF4-FFF2-40B4-BE49-F238E27FC236}">
                <a16:creationId xmlns:a16="http://schemas.microsoft.com/office/drawing/2014/main" id="{D4AF6BE4-6E6C-4AEC-8C2B-06BD5E0F0E23}"/>
              </a:ext>
            </a:extLst>
          </p:cNvPr>
          <p:cNvSpPr txBox="1"/>
          <p:nvPr/>
        </p:nvSpPr>
        <p:spPr>
          <a:xfrm>
            <a:off x="8223508" y="2436466"/>
            <a:ext cx="1504075" cy="540084"/>
          </a:xfrm>
          <a:prstGeom prst="rect">
            <a:avLst/>
          </a:prstGeom>
          <a:noFill/>
        </p:spPr>
        <p:txBody>
          <a:bodyPr wrap="square" lIns="180000" tIns="0" rIns="0" bIns="0" rtlCol="0" anchor="t">
            <a:spAutoFit/>
          </a:bodyPr>
          <a:lstStyle/>
          <a:p>
            <a:pPr defTabSz="798820">
              <a:lnSpc>
                <a:spcPct val="112000"/>
              </a:lnSpc>
              <a:buClr>
                <a:schemeClr val="tx2"/>
              </a:buClr>
              <a:buSzPct val="120000"/>
            </a:pPr>
            <a:r>
              <a:rPr lang="de-DE" sz="1600">
                <a:solidFill>
                  <a:schemeClr val="bg2"/>
                </a:solidFill>
                <a:latin typeface="Poppins Light"/>
                <a:cs typeface="Poppins Light"/>
              </a:rPr>
              <a:t>van de </a:t>
            </a:r>
            <a:r>
              <a:rPr lang="de-DE" sz="1600" err="1">
                <a:solidFill>
                  <a:schemeClr val="bg2"/>
                </a:solidFill>
                <a:latin typeface="Poppins Light"/>
                <a:cs typeface="Poppins Light"/>
              </a:rPr>
              <a:t>uitgaven</a:t>
            </a:r>
            <a:endParaRPr lang="de-DE" sz="1600">
              <a:solidFill>
                <a:schemeClr val="bg2"/>
              </a:solidFill>
              <a:latin typeface="Poppins Light"/>
              <a:cs typeface="Poppins Light"/>
            </a:endParaRPr>
          </a:p>
        </p:txBody>
      </p:sp>
    </p:spTree>
    <p:extLst>
      <p:ext uri="{BB962C8B-B14F-4D97-AF65-F5344CB8AC3E}">
        <p14:creationId xmlns:p14="http://schemas.microsoft.com/office/powerpoint/2010/main" val="6070993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descr="Afbeelding met water, ijsberg, natuur, Zee-ijs&#10;&#10;Automatisch gegenereerde beschrijving">
            <a:extLst>
              <a:ext uri="{FF2B5EF4-FFF2-40B4-BE49-F238E27FC236}">
                <a16:creationId xmlns:a16="http://schemas.microsoft.com/office/drawing/2014/main" id="{7095C00E-7A1A-35EB-256A-37BF5ECEC744}"/>
              </a:ext>
            </a:extLst>
          </p:cNvPr>
          <p:cNvPicPr>
            <a:picLocks noChangeAspect="1"/>
          </p:cNvPicPr>
          <p:nvPr/>
        </p:nvPicPr>
        <p:blipFill rotWithShape="1">
          <a:blip r:embed="rId3"/>
          <a:srcRect l="4638" r="6473"/>
          <a:stretch/>
        </p:blipFill>
        <p:spPr>
          <a:xfrm>
            <a:off x="-1" y="-1"/>
            <a:ext cx="12192000" cy="6858000"/>
          </a:xfrm>
          <a:prstGeom prst="rect">
            <a:avLst/>
          </a:prstGeom>
          <a:noFill/>
        </p:spPr>
      </p:pic>
      <p:sp>
        <p:nvSpPr>
          <p:cNvPr id="14" name="Tekstvak 13">
            <a:extLst>
              <a:ext uri="{FF2B5EF4-FFF2-40B4-BE49-F238E27FC236}">
                <a16:creationId xmlns:a16="http://schemas.microsoft.com/office/drawing/2014/main" id="{90E14558-5B0A-CB35-673D-32FA14122BF1}"/>
              </a:ext>
            </a:extLst>
          </p:cNvPr>
          <p:cNvSpPr txBox="1"/>
          <p:nvPr/>
        </p:nvSpPr>
        <p:spPr>
          <a:xfrm>
            <a:off x="9123184" y="472875"/>
            <a:ext cx="1734449"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Zichtbare kosten</a:t>
            </a:r>
          </a:p>
        </p:txBody>
      </p:sp>
      <p:sp>
        <p:nvSpPr>
          <p:cNvPr id="18" name="Tekstvak 17">
            <a:extLst>
              <a:ext uri="{FF2B5EF4-FFF2-40B4-BE49-F238E27FC236}">
                <a16:creationId xmlns:a16="http://schemas.microsoft.com/office/drawing/2014/main" id="{5C461853-8B5C-3F62-C543-3EF1ED2E5390}"/>
              </a:ext>
            </a:extLst>
          </p:cNvPr>
          <p:cNvSpPr txBox="1"/>
          <p:nvPr/>
        </p:nvSpPr>
        <p:spPr>
          <a:xfrm rot="16200000">
            <a:off x="10892631" y="3485286"/>
            <a:ext cx="413575" cy="293094"/>
          </a:xfrm>
          <a:prstGeom prst="rect">
            <a:avLst/>
          </a:prstGeom>
          <a:noFill/>
        </p:spPr>
        <p:txBody>
          <a:bodyPr wrap="none" lIns="0" tIns="0" rIns="0" bIns="0" rtlCol="0" anchor="t">
            <a:spAutoFit/>
          </a:bodyPr>
          <a:lstStyle/>
          <a:p>
            <a:pPr defTabSz="798820">
              <a:lnSpc>
                <a:spcPct val="130000"/>
              </a:lnSpc>
              <a:spcBef>
                <a:spcPts val="1700"/>
              </a:spcBef>
            </a:pPr>
            <a:r>
              <a:rPr lang="nl-NL" sz="1600" b="1">
                <a:solidFill>
                  <a:schemeClr val="bg2"/>
                </a:solidFill>
              </a:rPr>
              <a:t>TCO</a:t>
            </a:r>
            <a:endParaRPr lang="nl-NL">
              <a:solidFill>
                <a:schemeClr val="bg2"/>
              </a:solidFill>
            </a:endParaRPr>
          </a:p>
        </p:txBody>
      </p:sp>
      <p:sp>
        <p:nvSpPr>
          <p:cNvPr id="26" name="Tekstvak 25">
            <a:extLst>
              <a:ext uri="{FF2B5EF4-FFF2-40B4-BE49-F238E27FC236}">
                <a16:creationId xmlns:a16="http://schemas.microsoft.com/office/drawing/2014/main" id="{101F777A-9A54-6F7E-9FBC-A00BF5EBBE7C}"/>
              </a:ext>
            </a:extLst>
          </p:cNvPr>
          <p:cNvSpPr txBox="1"/>
          <p:nvPr/>
        </p:nvSpPr>
        <p:spPr>
          <a:xfrm>
            <a:off x="9018988" y="6142126"/>
            <a:ext cx="1838645" cy="293029"/>
          </a:xfrm>
          <a:prstGeom prst="rect">
            <a:avLst/>
          </a:prstGeom>
          <a:noFill/>
        </p:spPr>
        <p:txBody>
          <a:bodyPr wrap="none" lIns="0" tIns="0" rIns="0" bIns="0" rtlCol="0" anchor="t">
            <a:spAutoFit/>
          </a:bodyPr>
          <a:lstStyle/>
          <a:p>
            <a:pPr defTabSz="798820">
              <a:lnSpc>
                <a:spcPct val="130000"/>
              </a:lnSpc>
              <a:spcBef>
                <a:spcPts val="1700"/>
              </a:spcBef>
            </a:pPr>
            <a:r>
              <a:rPr lang="nl-NL" sz="1600" b="1">
                <a:solidFill>
                  <a:schemeClr val="bg2"/>
                </a:solidFill>
              </a:rPr>
              <a:t>Verborgen kosten</a:t>
            </a:r>
            <a:endParaRPr lang="nl-NL" sz="2400"/>
          </a:p>
        </p:txBody>
      </p:sp>
      <p:cxnSp>
        <p:nvCxnSpPr>
          <p:cNvPr id="34" name="Rechte verbindingslijn met pijl 33">
            <a:extLst>
              <a:ext uri="{FF2B5EF4-FFF2-40B4-BE49-F238E27FC236}">
                <a16:creationId xmlns:a16="http://schemas.microsoft.com/office/drawing/2014/main" id="{6E8B3E3C-B569-E736-2AFE-6BB9ADCAF175}"/>
              </a:ext>
            </a:extLst>
          </p:cNvPr>
          <p:cNvCxnSpPr>
            <a:cxnSpLocks/>
          </p:cNvCxnSpPr>
          <p:nvPr/>
        </p:nvCxnSpPr>
        <p:spPr>
          <a:xfrm flipH="1">
            <a:off x="10949107" y="702273"/>
            <a:ext cx="3746" cy="5732882"/>
          </a:xfrm>
          <a:prstGeom prst="straightConnector1">
            <a:avLst/>
          </a:prstGeom>
          <a:ln w="38100">
            <a:solidFill>
              <a:schemeClr val="bg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 name="Picture 2" descr="Unite_Mercateo_logo landscape_white_RGB@5x">
            <a:extLst>
              <a:ext uri="{FF2B5EF4-FFF2-40B4-BE49-F238E27FC236}">
                <a16:creationId xmlns:a16="http://schemas.microsoft.com/office/drawing/2014/main" id="{24F2E5A0-269E-3688-C015-7BEEB1543D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432" y="6129817"/>
            <a:ext cx="2215404" cy="589044"/>
          </a:xfrm>
          <a:prstGeom prst="rect">
            <a:avLst/>
          </a:prstGeom>
          <a:noFill/>
          <a:extLst>
            <a:ext uri="{909E8E84-426E-40DD-AFC4-6F175D3DCCD1}">
              <a14:hiddenFill xmlns:a14="http://schemas.microsoft.com/office/drawing/2010/main">
                <a:solidFill>
                  <a:srgbClr val="FFFFFF"/>
                </a:solidFill>
              </a14:hiddenFill>
            </a:ext>
          </a:extLst>
        </p:spPr>
      </p:pic>
      <p:sp>
        <p:nvSpPr>
          <p:cNvPr id="4" name="Tekstvak 13">
            <a:extLst>
              <a:ext uri="{FF2B5EF4-FFF2-40B4-BE49-F238E27FC236}">
                <a16:creationId xmlns:a16="http://schemas.microsoft.com/office/drawing/2014/main" id="{6242100C-CB1E-128B-B560-F11AFC9A130E}"/>
              </a:ext>
            </a:extLst>
          </p:cNvPr>
          <p:cNvSpPr txBox="1"/>
          <p:nvPr/>
        </p:nvSpPr>
        <p:spPr>
          <a:xfrm>
            <a:off x="3205099" y="702273"/>
            <a:ext cx="1311256"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Product prijs</a:t>
            </a:r>
          </a:p>
        </p:txBody>
      </p:sp>
      <p:sp>
        <p:nvSpPr>
          <p:cNvPr id="7" name="Tekstvak 13">
            <a:extLst>
              <a:ext uri="{FF2B5EF4-FFF2-40B4-BE49-F238E27FC236}">
                <a16:creationId xmlns:a16="http://schemas.microsoft.com/office/drawing/2014/main" id="{F41AF2AD-78D0-1220-7978-A855354487CE}"/>
              </a:ext>
            </a:extLst>
          </p:cNvPr>
          <p:cNvSpPr txBox="1"/>
          <p:nvPr/>
        </p:nvSpPr>
        <p:spPr>
          <a:xfrm>
            <a:off x="2581836" y="1172580"/>
            <a:ext cx="1535677"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Verzendkosten</a:t>
            </a:r>
          </a:p>
        </p:txBody>
      </p:sp>
      <p:sp>
        <p:nvSpPr>
          <p:cNvPr id="8" name="Tekstvak 13">
            <a:extLst>
              <a:ext uri="{FF2B5EF4-FFF2-40B4-BE49-F238E27FC236}">
                <a16:creationId xmlns:a16="http://schemas.microsoft.com/office/drawing/2014/main" id="{92002486-9D1E-CC85-7221-12A53CFEBD8B}"/>
              </a:ext>
            </a:extLst>
          </p:cNvPr>
          <p:cNvSpPr txBox="1"/>
          <p:nvPr/>
        </p:nvSpPr>
        <p:spPr>
          <a:xfrm>
            <a:off x="2919764" y="3187388"/>
            <a:ext cx="852798"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Offertes</a:t>
            </a:r>
          </a:p>
        </p:txBody>
      </p:sp>
      <p:sp>
        <p:nvSpPr>
          <p:cNvPr id="9" name="Tekstvak 13">
            <a:extLst>
              <a:ext uri="{FF2B5EF4-FFF2-40B4-BE49-F238E27FC236}">
                <a16:creationId xmlns:a16="http://schemas.microsoft.com/office/drawing/2014/main" id="{8AE9B7D2-47D5-9A92-E25C-39EFA0377EA0}"/>
              </a:ext>
            </a:extLst>
          </p:cNvPr>
          <p:cNvSpPr txBox="1"/>
          <p:nvPr/>
        </p:nvSpPr>
        <p:spPr>
          <a:xfrm>
            <a:off x="448581" y="3490830"/>
            <a:ext cx="2120773"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Crediteur aanmaken</a:t>
            </a:r>
          </a:p>
        </p:txBody>
      </p:sp>
      <p:sp>
        <p:nvSpPr>
          <p:cNvPr id="10" name="Tekstvak 13">
            <a:extLst>
              <a:ext uri="{FF2B5EF4-FFF2-40B4-BE49-F238E27FC236}">
                <a16:creationId xmlns:a16="http://schemas.microsoft.com/office/drawing/2014/main" id="{22D633E2-FF86-AA0C-B420-F751030F259A}"/>
              </a:ext>
            </a:extLst>
          </p:cNvPr>
          <p:cNvSpPr txBox="1"/>
          <p:nvPr/>
        </p:nvSpPr>
        <p:spPr>
          <a:xfrm>
            <a:off x="2748115" y="3736781"/>
            <a:ext cx="1330492"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Goedkeuring</a:t>
            </a:r>
          </a:p>
        </p:txBody>
      </p:sp>
      <p:sp>
        <p:nvSpPr>
          <p:cNvPr id="11" name="Tekstvak 13">
            <a:extLst>
              <a:ext uri="{FF2B5EF4-FFF2-40B4-BE49-F238E27FC236}">
                <a16:creationId xmlns:a16="http://schemas.microsoft.com/office/drawing/2014/main" id="{F581185E-40A1-102C-C5EC-7CEC9ED9D34D}"/>
              </a:ext>
            </a:extLst>
          </p:cNvPr>
          <p:cNvSpPr txBox="1"/>
          <p:nvPr/>
        </p:nvSpPr>
        <p:spPr>
          <a:xfrm>
            <a:off x="621336" y="4865910"/>
            <a:ext cx="2022990"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Factuur verwerking</a:t>
            </a:r>
          </a:p>
        </p:txBody>
      </p:sp>
      <p:sp>
        <p:nvSpPr>
          <p:cNvPr id="12" name="Tekstvak 13">
            <a:extLst>
              <a:ext uri="{FF2B5EF4-FFF2-40B4-BE49-F238E27FC236}">
                <a16:creationId xmlns:a16="http://schemas.microsoft.com/office/drawing/2014/main" id="{58A3CAB9-AF2E-60E9-40EE-EA393CB0A56F}"/>
              </a:ext>
            </a:extLst>
          </p:cNvPr>
          <p:cNvSpPr txBox="1"/>
          <p:nvPr/>
        </p:nvSpPr>
        <p:spPr>
          <a:xfrm>
            <a:off x="1047735" y="4181233"/>
            <a:ext cx="2047035"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Goederenontvangst</a:t>
            </a:r>
          </a:p>
        </p:txBody>
      </p:sp>
      <p:sp>
        <p:nvSpPr>
          <p:cNvPr id="13" name="Tekstvak 13">
            <a:extLst>
              <a:ext uri="{FF2B5EF4-FFF2-40B4-BE49-F238E27FC236}">
                <a16:creationId xmlns:a16="http://schemas.microsoft.com/office/drawing/2014/main" id="{BA7D0277-3405-909D-2265-D21C3524ED85}"/>
              </a:ext>
            </a:extLst>
          </p:cNvPr>
          <p:cNvSpPr txBox="1"/>
          <p:nvPr/>
        </p:nvSpPr>
        <p:spPr>
          <a:xfrm>
            <a:off x="3346163" y="5060710"/>
            <a:ext cx="1170192"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Vergelijken</a:t>
            </a:r>
          </a:p>
        </p:txBody>
      </p:sp>
      <p:sp>
        <p:nvSpPr>
          <p:cNvPr id="15" name="Tekstvak 13">
            <a:extLst>
              <a:ext uri="{FF2B5EF4-FFF2-40B4-BE49-F238E27FC236}">
                <a16:creationId xmlns:a16="http://schemas.microsoft.com/office/drawing/2014/main" id="{425B1F19-7A87-4357-2761-46F7CE729851}"/>
              </a:ext>
            </a:extLst>
          </p:cNvPr>
          <p:cNvSpPr txBox="1"/>
          <p:nvPr/>
        </p:nvSpPr>
        <p:spPr>
          <a:xfrm>
            <a:off x="3328402" y="4538388"/>
            <a:ext cx="750205"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Zoeken</a:t>
            </a:r>
          </a:p>
        </p:txBody>
      </p:sp>
      <p:sp>
        <p:nvSpPr>
          <p:cNvPr id="16" name="Tekstvak 13">
            <a:extLst>
              <a:ext uri="{FF2B5EF4-FFF2-40B4-BE49-F238E27FC236}">
                <a16:creationId xmlns:a16="http://schemas.microsoft.com/office/drawing/2014/main" id="{4A23BEAC-0C46-71C7-FD1E-647488DEC71F}"/>
              </a:ext>
            </a:extLst>
          </p:cNvPr>
          <p:cNvSpPr txBox="1"/>
          <p:nvPr/>
        </p:nvSpPr>
        <p:spPr>
          <a:xfrm>
            <a:off x="1924578" y="5449710"/>
            <a:ext cx="1606209" cy="293029"/>
          </a:xfrm>
          <a:prstGeom prst="rect">
            <a:avLst/>
          </a:prstGeom>
          <a:noFill/>
        </p:spPr>
        <p:txBody>
          <a:bodyPr wrap="none" lIns="0" tIns="0" rIns="0" bIns="0" rtlCol="0" anchor="t">
            <a:spAutoFit/>
          </a:bodyPr>
          <a:lstStyle/>
          <a:p>
            <a:pPr defTabSz="798820">
              <a:lnSpc>
                <a:spcPct val="130000"/>
              </a:lnSpc>
              <a:spcBef>
                <a:spcPts val="1700"/>
              </a:spcBef>
              <a:buClr>
                <a:schemeClr val="tx2"/>
              </a:buClr>
              <a:buSzPct val="120000"/>
            </a:pPr>
            <a:r>
              <a:rPr lang="nl-NL" sz="1600" b="1">
                <a:solidFill>
                  <a:schemeClr val="bg2"/>
                </a:solidFill>
              </a:rPr>
              <a:t>Onderhandelen</a:t>
            </a:r>
          </a:p>
        </p:txBody>
      </p:sp>
    </p:spTree>
    <p:extLst>
      <p:ext uri="{BB962C8B-B14F-4D97-AF65-F5344CB8AC3E}">
        <p14:creationId xmlns:p14="http://schemas.microsoft.com/office/powerpoint/2010/main" val="3351045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outHorizontal)">
                                      <p:cBhvr>
                                        <p:cTn id="7" dur="750"/>
                                        <p:tgtEl>
                                          <p:spTgt spid="34"/>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2"/>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P spid="26" grpId="0"/>
      <p:bldP spid="4" grpId="0"/>
      <p:bldP spid="7" grpId="0"/>
      <p:bldP spid="8" grpId="0"/>
      <p:bldP spid="9" grpId="0"/>
      <p:bldP spid="10" grpId="0"/>
      <p:bldP spid="11" grpId="0"/>
      <p:bldP spid="12" grpId="0"/>
      <p:bldP spid="13" grpId="0"/>
      <p:bldP spid="15" grpId="0"/>
      <p:bldP spid="1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a:extLst>
              <a:ext uri="{FF2B5EF4-FFF2-40B4-BE49-F238E27FC236}">
                <a16:creationId xmlns:a16="http://schemas.microsoft.com/office/drawing/2014/main" id="{70AD41C2-8EA4-0946-5C43-0A7BE3D87E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248" y="717506"/>
            <a:ext cx="4927268" cy="500871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9AEAC2B2-FB23-CE10-F7B2-497A5C7B76BB}"/>
              </a:ext>
            </a:extLst>
          </p:cNvPr>
          <p:cNvSpPr>
            <a:spLocks noGrp="1"/>
          </p:cNvSpPr>
          <p:nvPr>
            <p:ph type="title"/>
          </p:nvPr>
        </p:nvSpPr>
        <p:spPr/>
        <p:txBody>
          <a:bodyPr/>
          <a:lstStyle/>
          <a:p>
            <a:r>
              <a:rPr lang="nl-NL" sz="1820"/>
              <a:t>Proceskosten (TCO)</a:t>
            </a:r>
            <a:endParaRPr lang="en-NL" sz="1820"/>
          </a:p>
        </p:txBody>
      </p:sp>
      <p:sp>
        <p:nvSpPr>
          <p:cNvPr id="2" name="Footer Placeholder 2">
            <a:extLst>
              <a:ext uri="{FF2B5EF4-FFF2-40B4-BE49-F238E27FC236}">
                <a16:creationId xmlns:a16="http://schemas.microsoft.com/office/drawing/2014/main" id="{18F87FF2-A92A-1538-5C53-3083A43A6E31}"/>
              </a:ext>
            </a:extLst>
          </p:cNvPr>
          <p:cNvSpPr>
            <a:spLocks noGrp="1"/>
          </p:cNvSpPr>
          <p:nvPr>
            <p:ph type="ftr" sz="quarter" idx="10"/>
          </p:nvPr>
        </p:nvSpPr>
        <p:spPr bwMode="gray">
          <a:xfrm>
            <a:off x="3308239" y="6092825"/>
            <a:ext cx="8404336" cy="467849"/>
          </a:xfrm>
        </p:spPr>
        <p:txBody>
          <a:bodyPr anchor="b"/>
          <a:lstStyle>
            <a:lvl1pPr rtl="0">
              <a:defRPr/>
            </a:lvl1pPr>
          </a:lstStyle>
          <a:p>
            <a:pPr algn="r"/>
            <a:r>
              <a:rPr lang="nl-NL"/>
              <a:t>Source: </a:t>
            </a:r>
            <a:r>
              <a:rPr lang="nl-NL">
                <a:hlinkClick r:id="rId4"/>
              </a:rPr>
              <a:t>www.besparingspotentieel-ontdekken.nl</a:t>
            </a:r>
            <a:r>
              <a:rPr lang="nl-NL"/>
              <a:t> </a:t>
            </a:r>
          </a:p>
          <a:p>
            <a:pPr algn="r"/>
            <a:endParaRPr lang="nl-NL"/>
          </a:p>
        </p:txBody>
      </p:sp>
      <p:pic>
        <p:nvPicPr>
          <p:cNvPr id="1030" name="Picture 6">
            <a:extLst>
              <a:ext uri="{FF2B5EF4-FFF2-40B4-BE49-F238E27FC236}">
                <a16:creationId xmlns:a16="http://schemas.microsoft.com/office/drawing/2014/main" id="{456F6DD1-3F47-51D7-3AD1-F0DC122DAD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81201" y="615506"/>
            <a:ext cx="5264752" cy="52127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560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1A730B-B94F-A803-441B-0B53642CD177}"/>
              </a:ext>
            </a:extLst>
          </p:cNvPr>
          <p:cNvPicPr>
            <a:picLocks noChangeAspect="1"/>
          </p:cNvPicPr>
          <p:nvPr/>
        </p:nvPicPr>
        <p:blipFill>
          <a:blip r:embed="rId3"/>
          <a:stretch>
            <a:fillRect/>
          </a:stretch>
        </p:blipFill>
        <p:spPr>
          <a:xfrm>
            <a:off x="424394" y="1948504"/>
            <a:ext cx="11343211" cy="2960992"/>
          </a:xfrm>
          <a:prstGeom prst="rect">
            <a:avLst/>
          </a:prstGeom>
        </p:spPr>
      </p:pic>
      <p:sp>
        <p:nvSpPr>
          <p:cNvPr id="3" name="Title 2">
            <a:extLst>
              <a:ext uri="{FF2B5EF4-FFF2-40B4-BE49-F238E27FC236}">
                <a16:creationId xmlns:a16="http://schemas.microsoft.com/office/drawing/2014/main" id="{F9E540BA-3F58-3929-6F5B-180010604DF4}"/>
              </a:ext>
            </a:extLst>
          </p:cNvPr>
          <p:cNvSpPr>
            <a:spLocks noGrp="1"/>
          </p:cNvSpPr>
          <p:nvPr>
            <p:ph type="title"/>
          </p:nvPr>
        </p:nvSpPr>
        <p:spPr/>
        <p:txBody>
          <a:bodyPr/>
          <a:lstStyle/>
          <a:p>
            <a:r>
              <a:rPr lang="nl-NL" sz="1800">
                <a:latin typeface="Poppins Medium"/>
                <a:cs typeface="Poppins Medium"/>
              </a:rPr>
              <a:t>Potentiële besparing per processtap</a:t>
            </a:r>
            <a:endParaRPr lang="en-NL" sz="1800"/>
          </a:p>
        </p:txBody>
      </p:sp>
      <p:sp>
        <p:nvSpPr>
          <p:cNvPr id="12" name="Footer Placeholder 2">
            <a:extLst>
              <a:ext uri="{FF2B5EF4-FFF2-40B4-BE49-F238E27FC236}">
                <a16:creationId xmlns:a16="http://schemas.microsoft.com/office/drawing/2014/main" id="{9BA70ECD-EE2D-609B-90D9-242BF96F72BD}"/>
              </a:ext>
            </a:extLst>
          </p:cNvPr>
          <p:cNvSpPr>
            <a:spLocks noGrp="1"/>
          </p:cNvSpPr>
          <p:nvPr>
            <p:ph type="ftr" sz="quarter" idx="10"/>
          </p:nvPr>
        </p:nvSpPr>
        <p:spPr bwMode="gray">
          <a:xfrm>
            <a:off x="3308239" y="6092825"/>
            <a:ext cx="8404336" cy="467849"/>
          </a:xfrm>
        </p:spPr>
        <p:txBody>
          <a:bodyPr anchor="b"/>
          <a:lstStyle>
            <a:lvl1pPr rtl="0">
              <a:defRPr/>
            </a:lvl1pPr>
          </a:lstStyle>
          <a:p>
            <a:pPr algn="r"/>
            <a:r>
              <a:rPr lang="nl-NL"/>
              <a:t>Source: </a:t>
            </a:r>
            <a:r>
              <a:rPr lang="nl-NL" err="1"/>
              <a:t>www.besparingspotentieel-ontdekken.nl</a:t>
            </a:r>
            <a:endParaRPr lang="nl-NL"/>
          </a:p>
          <a:p>
            <a:pPr algn="r"/>
            <a:endParaRPr lang="nl-NL"/>
          </a:p>
        </p:txBody>
      </p:sp>
    </p:spTree>
    <p:extLst>
      <p:ext uri="{BB962C8B-B14F-4D97-AF65-F5344CB8AC3E}">
        <p14:creationId xmlns:p14="http://schemas.microsoft.com/office/powerpoint/2010/main" val="2067716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BFE7C21-394F-A374-4519-1ADF9DD903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248" y="717506"/>
            <a:ext cx="4927268" cy="500871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8">
            <a:extLst>
              <a:ext uri="{FF2B5EF4-FFF2-40B4-BE49-F238E27FC236}">
                <a16:creationId xmlns:a16="http://schemas.microsoft.com/office/drawing/2014/main" id="{9AEAC2B2-FB23-CE10-F7B2-497A5C7B76BB}"/>
              </a:ext>
            </a:extLst>
          </p:cNvPr>
          <p:cNvSpPr>
            <a:spLocks noGrp="1"/>
          </p:cNvSpPr>
          <p:nvPr>
            <p:ph type="title"/>
          </p:nvPr>
        </p:nvSpPr>
        <p:spPr/>
        <p:txBody>
          <a:bodyPr/>
          <a:lstStyle/>
          <a:p>
            <a:r>
              <a:rPr lang="nl-NL" sz="1820"/>
              <a:t>Proceskosten (TCO)</a:t>
            </a:r>
            <a:endParaRPr lang="en-NL" sz="1820"/>
          </a:p>
        </p:txBody>
      </p:sp>
      <p:sp>
        <p:nvSpPr>
          <p:cNvPr id="2" name="Footer Placeholder 2">
            <a:extLst>
              <a:ext uri="{FF2B5EF4-FFF2-40B4-BE49-F238E27FC236}">
                <a16:creationId xmlns:a16="http://schemas.microsoft.com/office/drawing/2014/main" id="{18F87FF2-A92A-1538-5C53-3083A43A6E31}"/>
              </a:ext>
            </a:extLst>
          </p:cNvPr>
          <p:cNvSpPr>
            <a:spLocks noGrp="1"/>
          </p:cNvSpPr>
          <p:nvPr>
            <p:ph type="ftr" sz="quarter" idx="10"/>
          </p:nvPr>
        </p:nvSpPr>
        <p:spPr bwMode="gray">
          <a:xfrm>
            <a:off x="3308239" y="6092825"/>
            <a:ext cx="8404336" cy="467849"/>
          </a:xfrm>
        </p:spPr>
        <p:txBody>
          <a:bodyPr anchor="b"/>
          <a:lstStyle>
            <a:lvl1pPr rtl="0">
              <a:defRPr/>
            </a:lvl1pPr>
          </a:lstStyle>
          <a:p>
            <a:pPr algn="r"/>
            <a:r>
              <a:rPr lang="nl-NL"/>
              <a:t>Source: </a:t>
            </a:r>
            <a:r>
              <a:rPr lang="nl-NL" err="1"/>
              <a:t>www.besparingspotentieel-ontdekken.nl</a:t>
            </a:r>
            <a:endParaRPr lang="nl-NL"/>
          </a:p>
          <a:p>
            <a:pPr algn="r"/>
            <a:endParaRPr lang="nl-NL"/>
          </a:p>
        </p:txBody>
      </p:sp>
      <p:pic>
        <p:nvPicPr>
          <p:cNvPr id="1030" name="Picture 6">
            <a:extLst>
              <a:ext uri="{FF2B5EF4-FFF2-40B4-BE49-F238E27FC236}">
                <a16:creationId xmlns:a16="http://schemas.microsoft.com/office/drawing/2014/main" id="{456F6DD1-3F47-51D7-3AD1-F0DC122DAD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81201" y="615506"/>
            <a:ext cx="5264752" cy="5212711"/>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F6D18F66-609F-BE6D-FE01-F27A28C7CB6B}"/>
              </a:ext>
            </a:extLst>
          </p:cNvPr>
          <p:cNvCxnSpPr>
            <a:cxnSpLocks/>
          </p:cNvCxnSpPr>
          <p:nvPr/>
        </p:nvCxnSpPr>
        <p:spPr>
          <a:xfrm>
            <a:off x="7155013" y="4184882"/>
            <a:ext cx="4745536" cy="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3127032-3EA5-491C-ED85-ADCC669EA697}"/>
              </a:ext>
            </a:extLst>
          </p:cNvPr>
          <p:cNvSpPr txBox="1"/>
          <p:nvPr/>
        </p:nvSpPr>
        <p:spPr>
          <a:xfrm>
            <a:off x="11179708" y="3822428"/>
            <a:ext cx="669072" cy="366319"/>
          </a:xfrm>
          <a:prstGeom prst="rect">
            <a:avLst/>
          </a:prstGeom>
          <a:noFill/>
        </p:spPr>
        <p:txBody>
          <a:bodyPr wrap="square" lIns="0" tIns="0" rIns="0" bIns="0" rtlCol="0">
            <a:spAutoFit/>
          </a:bodyPr>
          <a:lstStyle/>
          <a:p>
            <a:pPr marL="0" algn="r" defTabSz="798820">
              <a:lnSpc>
                <a:spcPct val="130000"/>
              </a:lnSpc>
              <a:spcBef>
                <a:spcPts val="1700"/>
              </a:spcBef>
              <a:buClr>
                <a:schemeClr val="tx2"/>
              </a:buClr>
              <a:buSzPct val="120000"/>
            </a:pPr>
            <a:r>
              <a:rPr lang="nl-NL" sz="2000"/>
              <a:t>€34</a:t>
            </a:r>
            <a:endParaRPr lang="en-NL" sz="2000" err="1"/>
          </a:p>
        </p:txBody>
      </p:sp>
    </p:spTree>
    <p:extLst>
      <p:ext uri="{BB962C8B-B14F-4D97-AF65-F5344CB8AC3E}">
        <p14:creationId xmlns:p14="http://schemas.microsoft.com/office/powerpoint/2010/main" val="3921167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par>
                                <p:cTn id="8" presetID="22" presetClass="entr" presetSubtype="2" fill="hold" grpId="0" nodeType="withEffect">
                                  <p:stCondLst>
                                    <p:cond delay="1000"/>
                                  </p:stCondLst>
                                  <p:childTnLst>
                                    <p:set>
                                      <p:cBhvr>
                                        <p:cTn id="9" dur="1" fill="hold">
                                          <p:stCondLst>
                                            <p:cond delay="0"/>
                                          </p:stCondLst>
                                        </p:cTn>
                                        <p:tgtEl>
                                          <p:spTgt spid="7"/>
                                        </p:tgtEl>
                                        <p:attrNameLst>
                                          <p:attrName>style.visibility</p:attrName>
                                        </p:attrNameLst>
                                      </p:cBhvr>
                                      <p:to>
                                        <p:strVal val="visible"/>
                                      </p:to>
                                    </p:set>
                                    <p:animEffect transition="in" filter="wipe(right)">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2424E-AA21-30F8-CC56-E1467C0C7DE0}"/>
              </a:ext>
            </a:extLst>
          </p:cNvPr>
          <p:cNvSpPr>
            <a:spLocks noGrp="1"/>
          </p:cNvSpPr>
          <p:nvPr>
            <p:ph type="title"/>
          </p:nvPr>
        </p:nvSpPr>
        <p:spPr>
          <a:xfrm>
            <a:off x="492387" y="496088"/>
            <a:ext cx="11205416" cy="628128"/>
          </a:xfrm>
        </p:spPr>
        <p:txBody>
          <a:bodyPr vert="horz" lIns="0" tIns="0" rIns="0" bIns="0" rtlCol="0" anchor="t">
            <a:normAutofit/>
          </a:bodyPr>
          <a:lstStyle/>
          <a:p>
            <a:r>
              <a:rPr lang="en-US" kern="1200">
                <a:latin typeface="Poppins Medium" panose="00000600000000000000" pitchFamily="2" charset="0"/>
                <a:ea typeface="+mj-ea"/>
                <a:cs typeface="Poppins Medium" panose="00000600000000000000" pitchFamily="2" charset="0"/>
              </a:rPr>
              <a:t>Risico’s </a:t>
            </a:r>
          </a:p>
        </p:txBody>
      </p:sp>
      <p:sp>
        <p:nvSpPr>
          <p:cNvPr id="20" name="Abgerundetes Rechteck 32">
            <a:extLst>
              <a:ext uri="{FF2B5EF4-FFF2-40B4-BE49-F238E27FC236}">
                <a16:creationId xmlns:a16="http://schemas.microsoft.com/office/drawing/2014/main" id="{5FC99E77-1F17-8173-5146-6DE80DD45C90}"/>
              </a:ext>
            </a:extLst>
          </p:cNvPr>
          <p:cNvSpPr/>
          <p:nvPr/>
        </p:nvSpPr>
        <p:spPr>
          <a:xfrm rot="5400000">
            <a:off x="-1008258" y="1481475"/>
            <a:ext cx="2516295" cy="4411757"/>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4" name="Afbeelding 3" descr="Afbeelding met cirkel, symbool, logo, Graphics&#10;&#10;Automatisch gegenereerde beschrijving">
            <a:extLst>
              <a:ext uri="{FF2B5EF4-FFF2-40B4-BE49-F238E27FC236}">
                <a16:creationId xmlns:a16="http://schemas.microsoft.com/office/drawing/2014/main" id="{FB185BC3-E990-23C3-8FB5-75D7535C57DA}"/>
              </a:ext>
            </a:extLst>
          </p:cNvPr>
          <p:cNvPicPr>
            <a:picLocks noChangeAspect="1"/>
          </p:cNvPicPr>
          <p:nvPr/>
        </p:nvPicPr>
        <p:blipFill>
          <a:blip r:embed="rId3"/>
          <a:stretch>
            <a:fillRect/>
          </a:stretch>
        </p:blipFill>
        <p:spPr>
          <a:xfrm>
            <a:off x="121400" y="2588958"/>
            <a:ext cx="2160000" cy="2160000"/>
          </a:xfrm>
          <a:prstGeom prst="rect">
            <a:avLst/>
          </a:prstGeom>
        </p:spPr>
      </p:pic>
      <p:sp>
        <p:nvSpPr>
          <p:cNvPr id="22" name="Abgerundetes Rechteck 48">
            <a:extLst>
              <a:ext uri="{FF2B5EF4-FFF2-40B4-BE49-F238E27FC236}">
                <a16:creationId xmlns:a16="http://schemas.microsoft.com/office/drawing/2014/main" id="{0F9E5EAB-967D-B9B1-9AF2-3782C5F92414}"/>
              </a:ext>
            </a:extLst>
          </p:cNvPr>
          <p:cNvSpPr/>
          <p:nvPr/>
        </p:nvSpPr>
        <p:spPr>
          <a:xfrm>
            <a:off x="6159738" y="1623503"/>
            <a:ext cx="5538065" cy="4140200"/>
          </a:xfrm>
          <a:prstGeom prst="roundRect">
            <a:avLst>
              <a:gd name="adj" fmla="val 3862"/>
            </a:avLst>
          </a:prstGeom>
          <a:solidFill>
            <a:srgbClr val="E2E0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6307" tIns="246307" rIns="246307" bIns="246307" rtlCol="0" anchor="t" anchorCtr="0">
            <a:noAutofit/>
          </a:bodyPr>
          <a:lstStyle/>
          <a:p>
            <a:pPr rtl="0"/>
            <a:endParaRPr lang="de-DE" sz="1254"/>
          </a:p>
        </p:txBody>
      </p:sp>
      <p:grpSp>
        <p:nvGrpSpPr>
          <p:cNvPr id="29" name="Gruppieren 49">
            <a:extLst>
              <a:ext uri="{FF2B5EF4-FFF2-40B4-BE49-F238E27FC236}">
                <a16:creationId xmlns:a16="http://schemas.microsoft.com/office/drawing/2014/main" id="{8D1D71E8-4D1E-FADF-D08D-A79462C0DE93}"/>
              </a:ext>
            </a:extLst>
          </p:cNvPr>
          <p:cNvGrpSpPr/>
          <p:nvPr/>
        </p:nvGrpSpPr>
        <p:grpSpPr>
          <a:xfrm rot="10800000">
            <a:off x="2629332" y="1619190"/>
            <a:ext cx="8606929" cy="4148825"/>
            <a:chOff x="474496" y="1656664"/>
            <a:chExt cx="8606929" cy="4148825"/>
          </a:xfrm>
        </p:grpSpPr>
        <p:sp>
          <p:nvSpPr>
            <p:cNvPr id="26" name="Abgerundetes Rechteck 48">
              <a:extLst>
                <a:ext uri="{FF2B5EF4-FFF2-40B4-BE49-F238E27FC236}">
                  <a16:creationId xmlns:a16="http://schemas.microsoft.com/office/drawing/2014/main" id="{D6173818-8D52-6B7C-AE6B-095EA11A8493}"/>
                </a:ext>
              </a:extLst>
            </p:cNvPr>
            <p:cNvSpPr/>
            <p:nvPr/>
          </p:nvSpPr>
          <p:spPr>
            <a:xfrm>
              <a:off x="474496" y="1665289"/>
              <a:ext cx="5538065" cy="4140200"/>
            </a:xfrm>
            <a:prstGeom prst="roundRect">
              <a:avLst>
                <a:gd name="adj" fmla="val 3862"/>
              </a:avLst>
            </a:prstGeom>
            <a:solidFill>
              <a:srgbClr val="E2E0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46307" tIns="246307" rIns="246307" bIns="246307" rtlCol="0" anchor="t" anchorCtr="0">
              <a:noAutofit/>
            </a:bodyPr>
            <a:lstStyle/>
            <a:p>
              <a:pPr rtl="0"/>
              <a:endParaRPr lang="de-DE" sz="1254"/>
            </a:p>
          </p:txBody>
        </p:sp>
        <p:sp>
          <p:nvSpPr>
            <p:cNvPr id="28" name="Abgerundetes Rechteck 47">
              <a:extLst>
                <a:ext uri="{FF2B5EF4-FFF2-40B4-BE49-F238E27FC236}">
                  <a16:creationId xmlns:a16="http://schemas.microsoft.com/office/drawing/2014/main" id="{0B7A404B-7669-A86C-E300-E6ABE4628828}"/>
                </a:ext>
              </a:extLst>
            </p:cNvPr>
            <p:cNvSpPr/>
            <p:nvPr/>
          </p:nvSpPr>
          <p:spPr>
            <a:xfrm rot="5400000">
              <a:off x="3341875" y="65937"/>
              <a:ext cx="4148824" cy="7330277"/>
            </a:xfrm>
            <a:prstGeom prst="roundRect">
              <a:avLst>
                <a:gd name="adj" fmla="val 50000"/>
              </a:avLst>
            </a:prstGeom>
            <a:solidFill>
              <a:srgbClr val="E2E0E5"/>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a:p>
          </p:txBody>
        </p:sp>
      </p:grpSp>
      <p:pic>
        <p:nvPicPr>
          <p:cNvPr id="9" name="Picture 8" descr="A white cross with a hand and leaves&#10;&#10;Description automatically generated">
            <a:extLst>
              <a:ext uri="{FF2B5EF4-FFF2-40B4-BE49-F238E27FC236}">
                <a16:creationId xmlns:a16="http://schemas.microsoft.com/office/drawing/2014/main" id="{FFECFDDF-C50D-4585-A5CE-9A09469AD7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0000" y="2609334"/>
            <a:ext cx="2160000" cy="2160000"/>
          </a:xfrm>
          <a:prstGeom prst="rect">
            <a:avLst/>
          </a:prstGeom>
          <a:noFill/>
        </p:spPr>
      </p:pic>
      <p:pic>
        <p:nvPicPr>
          <p:cNvPr id="7" name="Picture 6" descr="A computer screen with a graph and a white cross&#10;&#10;Description automatically generated">
            <a:extLst>
              <a:ext uri="{FF2B5EF4-FFF2-40B4-BE49-F238E27FC236}">
                <a16:creationId xmlns:a16="http://schemas.microsoft.com/office/drawing/2014/main" id="{55083C82-4D1A-B8D1-6CFA-04BF41EF112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80000" y="2588958"/>
            <a:ext cx="2160000" cy="2160000"/>
          </a:xfrm>
          <a:prstGeom prst="rect">
            <a:avLst/>
          </a:prstGeom>
          <a:noFill/>
        </p:spPr>
      </p:pic>
      <p:pic>
        <p:nvPicPr>
          <p:cNvPr id="5" name="Picture 4" descr="A white cross with hands and a paper&#10;&#10;Description automatically generated">
            <a:extLst>
              <a:ext uri="{FF2B5EF4-FFF2-40B4-BE49-F238E27FC236}">
                <a16:creationId xmlns:a16="http://schemas.microsoft.com/office/drawing/2014/main" id="{598F613D-DC8D-5BED-2541-248195D09B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80000" y="2604661"/>
            <a:ext cx="2160000" cy="2160000"/>
          </a:xfrm>
          <a:prstGeom prst="rect">
            <a:avLst/>
          </a:prstGeom>
          <a:noFill/>
        </p:spPr>
      </p:pic>
      <p:sp>
        <p:nvSpPr>
          <p:cNvPr id="27" name="Text Placeholder 8">
            <a:extLst>
              <a:ext uri="{FF2B5EF4-FFF2-40B4-BE49-F238E27FC236}">
                <a16:creationId xmlns:a16="http://schemas.microsoft.com/office/drawing/2014/main" id="{C42DF402-685B-7A21-D3E3-D182DD36E1B9}"/>
              </a:ext>
            </a:extLst>
          </p:cNvPr>
          <p:cNvSpPr>
            <a:spLocks noGrp="1"/>
          </p:cNvSpPr>
          <p:nvPr>
            <p:ph type="body" sz="quarter" idx="26"/>
          </p:nvPr>
        </p:nvSpPr>
        <p:spPr>
          <a:xfrm>
            <a:off x="10094251" y="4947948"/>
            <a:ext cx="331498" cy="707963"/>
          </a:xfrm>
        </p:spPr>
        <p:txBody>
          <a:bodyPr/>
          <a:lstStyle/>
          <a:p>
            <a:r>
              <a:rPr lang="en-US"/>
              <a:t>ESG</a:t>
            </a:r>
          </a:p>
        </p:txBody>
      </p:sp>
      <p:sp>
        <p:nvSpPr>
          <p:cNvPr id="3" name="TextBox 2">
            <a:extLst>
              <a:ext uri="{FF2B5EF4-FFF2-40B4-BE49-F238E27FC236}">
                <a16:creationId xmlns:a16="http://schemas.microsoft.com/office/drawing/2014/main" id="{21F4CE4A-E7BF-4A6B-A126-EF8A9D752A66}"/>
              </a:ext>
            </a:extLst>
          </p:cNvPr>
          <p:cNvSpPr txBox="1"/>
          <p:nvPr/>
        </p:nvSpPr>
        <p:spPr bwMode="gray">
          <a:xfrm>
            <a:off x="6832158" y="4945501"/>
            <a:ext cx="1455684" cy="695081"/>
          </a:xfrm>
          <a:prstGeom prst="rect">
            <a:avLst/>
          </a:prstGeom>
        </p:spPr>
        <p:txBody>
          <a:bodyPr vert="horz" lIns="0" tIns="0" rIns="0" bIns="0" rtlCol="0">
            <a:normAutofit/>
          </a:bodyPr>
          <a:lstStyle/>
          <a:p>
            <a:pPr marL="0" lvl="2" defTabSz="910894">
              <a:lnSpc>
                <a:spcPct val="120000"/>
              </a:lnSpc>
            </a:pPr>
            <a:r>
              <a:rPr lang="en-US" sz="1200" b="1" err="1">
                <a:solidFill>
                  <a:schemeClr val="tx2"/>
                </a:solidFill>
                <a:effectLst/>
              </a:rPr>
              <a:t>Controle</a:t>
            </a:r>
            <a:r>
              <a:rPr lang="en-US" sz="1200" b="1">
                <a:solidFill>
                  <a:schemeClr val="tx2"/>
                </a:solidFill>
                <a:effectLst/>
              </a:rPr>
              <a:t> &amp; </a:t>
            </a:r>
            <a:r>
              <a:rPr lang="en-US" sz="1200" b="1" err="1">
                <a:solidFill>
                  <a:schemeClr val="tx2"/>
                </a:solidFill>
                <a:effectLst/>
              </a:rPr>
              <a:t>inzicht</a:t>
            </a:r>
            <a:endParaRPr lang="en-US" sz="1200" b="1">
              <a:solidFill>
                <a:schemeClr val="tx2"/>
              </a:solidFill>
            </a:endParaRPr>
          </a:p>
        </p:txBody>
      </p:sp>
      <p:sp>
        <p:nvSpPr>
          <p:cNvPr id="10" name="Titel 1">
            <a:extLst>
              <a:ext uri="{FF2B5EF4-FFF2-40B4-BE49-F238E27FC236}">
                <a16:creationId xmlns:a16="http://schemas.microsoft.com/office/drawing/2014/main" id="{F6A6E5BE-1165-5A8A-E3F7-5E0154D665B8}"/>
              </a:ext>
            </a:extLst>
          </p:cNvPr>
          <p:cNvSpPr txBox="1">
            <a:spLocks/>
          </p:cNvSpPr>
          <p:nvPr/>
        </p:nvSpPr>
        <p:spPr bwMode="gray">
          <a:xfrm>
            <a:off x="4352239" y="4937454"/>
            <a:ext cx="1015521" cy="695081"/>
          </a:xfrm>
          <a:prstGeom prst="rect">
            <a:avLst/>
          </a:prstGeom>
        </p:spPr>
        <p:txBody>
          <a:bodyPr vert="horz" lIns="0" tIns="0" rIns="0" bIns="0" rtlCol="0">
            <a:norm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pPr defTabSz="910894">
              <a:lnSpc>
                <a:spcPct val="130000"/>
              </a:lnSpc>
              <a:spcBef>
                <a:spcPts val="0"/>
              </a:spcBef>
              <a:spcAft>
                <a:spcPts val="600"/>
              </a:spcAft>
              <a:buSzPct val="200000"/>
            </a:pPr>
            <a:r>
              <a:rPr lang="en-US" sz="1254" b="1">
                <a:latin typeface="+mn-lt"/>
                <a:ea typeface="+mn-ea"/>
                <a:cs typeface="+mn-cs"/>
              </a:rPr>
              <a:t>Compliance</a:t>
            </a:r>
          </a:p>
        </p:txBody>
      </p:sp>
    </p:spTree>
    <p:extLst>
      <p:ext uri="{BB962C8B-B14F-4D97-AF65-F5344CB8AC3E}">
        <p14:creationId xmlns:p14="http://schemas.microsoft.com/office/powerpoint/2010/main" val="28862488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 Unite">
  <a:themeElements>
    <a:clrScheme name="Unite_Colors">
      <a:dk1>
        <a:srgbClr val="FB563E"/>
      </a:dk1>
      <a:lt1>
        <a:srgbClr val="D3D1D9"/>
      </a:lt1>
      <a:dk2>
        <a:srgbClr val="28235C"/>
      </a:dk2>
      <a:lt2>
        <a:srgbClr val="FFFFFF"/>
      </a:lt2>
      <a:accent1>
        <a:srgbClr val="FB563E"/>
      </a:accent1>
      <a:accent2>
        <a:srgbClr val="9C257F"/>
      </a:accent2>
      <a:accent3>
        <a:srgbClr val="28235C"/>
      </a:accent3>
      <a:accent4>
        <a:srgbClr val="585A7F"/>
      </a:accent4>
      <a:accent5>
        <a:srgbClr val="8C90AA"/>
      </a:accent5>
      <a:accent6>
        <a:srgbClr val="B0B0C2"/>
      </a:accent6>
      <a:hlink>
        <a:srgbClr val="28235C"/>
      </a:hlink>
      <a:folHlink>
        <a:srgbClr val="9C257F"/>
      </a:folHlink>
    </a:clrScheme>
    <a:fontScheme name="Unite_Fonts">
      <a:majorFont>
        <a:latin typeface="Poppi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216000" tIns="216000" rIns="216000" bIns="216000" rtlCol="0" anchor="t" anchorCtr="0">
        <a:noAutofit/>
      </a:bodyPr>
      <a:lstStyle>
        <a:defPPr algn="l">
          <a:defRPr sz="11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algn="l" defTabSz="798820">
          <a:lnSpc>
            <a:spcPct val="130000"/>
          </a:lnSpc>
          <a:spcBef>
            <a:spcPts val="1700"/>
          </a:spcBef>
          <a:buClr>
            <a:schemeClr val="tx2"/>
          </a:buClr>
          <a:buSzPct val="120000"/>
          <a:defRPr sz="1100" dirty="0" err="1"/>
        </a:defPPr>
      </a:lstStyle>
    </a:txDef>
  </a:objectDefaults>
  <a:extraClrSchemeLst/>
  <a:custClrLst>
    <a:custClr name="Unite midnight blue 100">
      <a:srgbClr val="241942"/>
    </a:custClr>
    <a:custClr name="Unite midnight blue 90">
      <a:srgbClr val="28235C"/>
    </a:custClr>
    <a:custClr name="Unite midnight blue 80">
      <a:srgbClr val="403F6E"/>
    </a:custClr>
    <a:custClr name="Unite midnight blue 70">
      <a:srgbClr val="585A7F"/>
    </a:custClr>
    <a:custClr name="Unite midnight blue 60">
      <a:srgbClr val="696F93"/>
    </a:custClr>
    <a:custClr name="Unite midnight blue 50">
      <a:srgbClr val="8C90AA"/>
    </a:custClr>
    <a:custClr name="Unite midnight blue 40">
      <a:srgbClr val="B0B0C2"/>
    </a:custClr>
    <a:custClr name="Unite midnight blue 30">
      <a:srgbClr val="D3D1D9"/>
    </a:custClr>
    <a:custClr name="Unite midnight blue 20">
      <a:srgbClr val="E2E0E5"/>
    </a:custClr>
    <a:custClr name="Unite midnight blue 10">
      <a:srgbClr val="F0F0F2"/>
    </a:custClr>
  </a:custClrLst>
  <a:extLst>
    <a:ext uri="{05A4C25C-085E-4340-85A3-A5531E510DB2}">
      <thm15:themeFamily xmlns:thm15="http://schemas.microsoft.com/office/thememl/2012/main" name="Theme Unite" id="{1C95B8FB-541B-49B8-BE95-E6F1F7AC7B4E}" vid="{E66F9E34-CBD0-4327-BEB7-36D51F434B7B}"/>
    </a:ext>
  </a:extLst>
</a:theme>
</file>

<file path=ppt/theme/theme2.xml><?xml version="1.0" encoding="utf-8"?>
<a:theme xmlns:a="http://schemas.openxmlformats.org/drawingml/2006/main" name="Unite Master">
  <a:themeElements>
    <a:clrScheme name="Unite_Colors">
      <a:dk1>
        <a:srgbClr val="FB563E"/>
      </a:dk1>
      <a:lt1>
        <a:srgbClr val="D3D1D9"/>
      </a:lt1>
      <a:dk2>
        <a:srgbClr val="28235C"/>
      </a:dk2>
      <a:lt2>
        <a:srgbClr val="FFFFFF"/>
      </a:lt2>
      <a:accent1>
        <a:srgbClr val="FB563E"/>
      </a:accent1>
      <a:accent2>
        <a:srgbClr val="9C257F"/>
      </a:accent2>
      <a:accent3>
        <a:srgbClr val="28235C"/>
      </a:accent3>
      <a:accent4>
        <a:srgbClr val="585A7F"/>
      </a:accent4>
      <a:accent5>
        <a:srgbClr val="8C90AA"/>
      </a:accent5>
      <a:accent6>
        <a:srgbClr val="B0B0C2"/>
      </a:accent6>
      <a:hlink>
        <a:srgbClr val="28235C"/>
      </a:hlink>
      <a:folHlink>
        <a:srgbClr val="9C257F"/>
      </a:folHlink>
    </a:clrScheme>
    <a:fontScheme name="Unite_Fonts">
      <a:majorFont>
        <a:latin typeface="Poppi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216000" tIns="216000" rIns="216000" bIns="216000" rtlCol="0" anchor="t" anchorCtr="0">
        <a:noAutofit/>
      </a:bodyPr>
      <a:lstStyle>
        <a:defPPr algn="l">
          <a:defRPr sz="11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algn="l" defTabSz="798820">
          <a:lnSpc>
            <a:spcPct val="130000"/>
          </a:lnSpc>
          <a:spcBef>
            <a:spcPts val="1700"/>
          </a:spcBef>
          <a:buClr>
            <a:schemeClr val="tx2"/>
          </a:buClr>
          <a:buSzPct val="120000"/>
          <a:defRPr sz="1100" dirty="0" err="1"/>
        </a:defPPr>
      </a:lstStyle>
    </a:txDef>
  </a:objectDefaults>
  <a:extraClrSchemeLst/>
  <a:custClrLst>
    <a:custClr name="Unite midnight blue 100">
      <a:srgbClr val="241942"/>
    </a:custClr>
    <a:custClr name="Unite midnight blue 90">
      <a:srgbClr val="28235C"/>
    </a:custClr>
    <a:custClr name="Unite midnight blue 80">
      <a:srgbClr val="403F6E"/>
    </a:custClr>
    <a:custClr name="Unite midnight blue 70">
      <a:srgbClr val="585A7F"/>
    </a:custClr>
    <a:custClr name="Unite midnight blue 60">
      <a:srgbClr val="696F93"/>
    </a:custClr>
    <a:custClr name="Unite midnight blue 50">
      <a:srgbClr val="8C90AA"/>
    </a:custClr>
    <a:custClr name="Unite midnight blue 40">
      <a:srgbClr val="B0B0C2"/>
    </a:custClr>
    <a:custClr name="Unite midnight blue 30">
      <a:srgbClr val="D3D1D9"/>
    </a:custClr>
    <a:custClr name="Unite midnight blue 20">
      <a:srgbClr val="E2E0E5"/>
    </a:custClr>
    <a:custClr name="Unite midnight blue 10">
      <a:srgbClr val="F0F0F2"/>
    </a:custClr>
  </a:custClr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50194E81CD68B94482B9DE626EA56AB7" ma:contentTypeVersion="12" ma:contentTypeDescription="Ein neues Dokument erstellen." ma:contentTypeScope="" ma:versionID="e587f26d80c567f4739df78337ebb1a4">
  <xsd:schema xmlns:xsd="http://www.w3.org/2001/XMLSchema" xmlns:xs="http://www.w3.org/2001/XMLSchema" xmlns:p="http://schemas.microsoft.com/office/2006/metadata/properties" xmlns:ns2="edf0db50-b879-4505-82e9-75c4e3b49784" xmlns:ns3="f2b3e252-e505-49e7-96ae-96759bf9a69c" targetNamespace="http://schemas.microsoft.com/office/2006/metadata/properties" ma:root="true" ma:fieldsID="f8ed4ab497dbf20278af45616df300fe" ns2:_="" ns3:_="">
    <xsd:import namespace="edf0db50-b879-4505-82e9-75c4e3b49784"/>
    <xsd:import namespace="f2b3e252-e505-49e7-96ae-96759bf9a69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DateTaken" minOccurs="0"/>
                <xsd:element ref="ns3:MediaServiceObjectDetectorVersions"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f0db50-b879-4505-82e9-75c4e3b49784"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a846b09b-03a8-45d6-8774-c9146815e538}" ma:internalName="TaxCatchAll" ma:showField="CatchAllData" ma:web="edf0db50-b879-4505-82e9-75c4e3b4978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2b3e252-e505-49e7-96ae-96759bf9a69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6c1f5813-6659-4e36-9c2c-82eed940a30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df0db50-b879-4505-82e9-75c4e3b49784" xsi:nil="true"/>
    <lcf76f155ced4ddcb4097134ff3c332f xmlns="f2b3e252-e505-49e7-96ae-96759bf9a69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1ACC06C-A1B3-489B-A92F-999D3BD73D50}">
  <ds:schemaRefs>
    <ds:schemaRef ds:uri="http://schemas.microsoft.com/sharepoint/v3/contenttype/forms"/>
  </ds:schemaRefs>
</ds:datastoreItem>
</file>

<file path=customXml/itemProps2.xml><?xml version="1.0" encoding="utf-8"?>
<ds:datastoreItem xmlns:ds="http://schemas.openxmlformats.org/officeDocument/2006/customXml" ds:itemID="{0D65EFC1-8D9A-4025-AD4E-7B70135CB474}">
  <ds:schemaRefs>
    <ds:schemaRef ds:uri="edf0db50-b879-4505-82e9-75c4e3b49784"/>
    <ds:schemaRef ds:uri="f2b3e252-e505-49e7-96ae-96759bf9a6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4298662-E2D1-44A2-84A7-4DFCACE9237B}">
  <ds:schemaRefs>
    <ds:schemaRef ds:uri="edf0db50-b879-4505-82e9-75c4e3b49784"/>
    <ds:schemaRef ds:uri="f2b3e252-e505-49e7-96ae-96759bf9a6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760</Words>
  <Application>Microsoft Office PowerPoint</Application>
  <PresentationFormat>Breedbeeld</PresentationFormat>
  <Paragraphs>187</Paragraphs>
  <Slides>14</Slides>
  <Notes>14</Notes>
  <HiddenSlides>0</HiddenSlides>
  <MMClips>0</MMClips>
  <ScaleCrop>false</ScaleCrop>
  <HeadingPairs>
    <vt:vector size="4" baseType="variant">
      <vt:variant>
        <vt:lpstr>Thema</vt:lpstr>
      </vt:variant>
      <vt:variant>
        <vt:i4>2</vt:i4>
      </vt:variant>
      <vt:variant>
        <vt:lpstr>Diatitels</vt:lpstr>
      </vt:variant>
      <vt:variant>
        <vt:i4>14</vt:i4>
      </vt:variant>
    </vt:vector>
  </HeadingPairs>
  <TitlesOfParts>
    <vt:vector size="16" baseType="lpstr">
      <vt:lpstr>Theme Unite</vt:lpstr>
      <vt:lpstr>Unite Master</vt:lpstr>
      <vt:lpstr>Kleine uitgaven met een staartje:  Een duik in het optimaliseren  van indirecte tail spend</vt:lpstr>
      <vt:lpstr>Wat is Indirect Tail Spend?</vt:lpstr>
      <vt:lpstr>Wat kost dit product?</vt:lpstr>
      <vt:lpstr>De impact van Indirect Tail Spend</vt:lpstr>
      <vt:lpstr>PowerPoint-presentatie</vt:lpstr>
      <vt:lpstr>Proceskosten (TCO)</vt:lpstr>
      <vt:lpstr>Potentiële besparing per processtap</vt:lpstr>
      <vt:lpstr>Proceskosten (TCO)</vt:lpstr>
      <vt:lpstr>Risico’s </vt:lpstr>
      <vt:lpstr>Waarom een tail spend strategie?</vt:lpstr>
      <vt:lpstr>Neutrale eMarktplaats &amp; leveranciersnetwerk</vt:lpstr>
      <vt:lpstr>De 7 stappen voor het opzetten van een tail spend strategie</vt:lpstr>
      <vt:lpstr>Take-aways</vt:lpstr>
      <vt:lpstr>Nieuwsgierig geworden?  Kom een praatje maken bij onze stan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eine uitgaven met een staartje:  Een duik in het optimaliseren van indirecte tail spend</dc:title>
  <dc:creator>Sander Pechholt</dc:creator>
  <cp:lastModifiedBy>Robert Weitmann</cp:lastModifiedBy>
  <cp:revision>2</cp:revision>
  <dcterms:created xsi:type="dcterms:W3CDTF">2023-09-15T07:47:56Z</dcterms:created>
  <dcterms:modified xsi:type="dcterms:W3CDTF">2023-10-05T07:2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194E81CD68B94482B9DE626EA56AB7</vt:lpwstr>
  </property>
  <property fmtid="{D5CDD505-2E9C-101B-9397-08002B2CF9AE}" pid="3" name="MediaServiceImageTags">
    <vt:lpwstr/>
  </property>
</Properties>
</file>